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19.xml" ContentType="application/vnd.openxmlformats-officedocument.theme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20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21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22.xml" ContentType="application/vnd.openxmlformats-officedocument.theme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2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24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25.xml" ContentType="application/vnd.openxmlformats-officedocument.theme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26.xml" ContentType="application/vnd.openxmlformats-officedocument.theme+xml"/>
  <Override PartName="/ppt/theme/theme27.xml" ContentType="application/vnd.openxmlformats-officedocument.theme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371" r:id="rId20"/>
    <p:sldMasterId id="2147484430" r:id="rId21"/>
    <p:sldMasterId id="2147484438" r:id="rId22"/>
    <p:sldMasterId id="2147484472" r:id="rId23"/>
    <p:sldMasterId id="2147484531" r:id="rId24"/>
    <p:sldMasterId id="2147484603" r:id="rId25"/>
    <p:sldMasterId id="2147484672" r:id="rId26"/>
    <p:sldMasterId id="2147484680" r:id="rId27"/>
    <p:sldMasterId id="2147484708" r:id="rId28"/>
    <p:sldMasterId id="2147484842" r:id="rId29"/>
  </p:sldMasterIdLst>
  <p:notesMasterIdLst>
    <p:notesMasterId r:id="rId42"/>
  </p:notesMasterIdLst>
  <p:handoutMasterIdLst>
    <p:handoutMasterId r:id="rId43"/>
  </p:handoutMasterIdLst>
  <p:sldIdLst>
    <p:sldId id="987" r:id="rId30"/>
    <p:sldId id="994" r:id="rId31"/>
    <p:sldId id="1024" r:id="rId32"/>
    <p:sldId id="1016" r:id="rId33"/>
    <p:sldId id="1015" r:id="rId34"/>
    <p:sldId id="1025" r:id="rId35"/>
    <p:sldId id="1026" r:id="rId36"/>
    <p:sldId id="1027" r:id="rId37"/>
    <p:sldId id="1018" r:id="rId38"/>
    <p:sldId id="1019" r:id="rId39"/>
    <p:sldId id="1021" r:id="rId40"/>
    <p:sldId id="1023" r:id="rId41"/>
  </p:sldIdLst>
  <p:sldSz cx="9144000" cy="6858000" type="screen4x3"/>
  <p:notesSz cx="7010400" cy="9296400"/>
  <p:custDataLst>
    <p:tags r:id="rId4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vertBarState="maximized" horzBarState="maximized">
    <p:restoredLeft sz="34587" autoAdjust="0"/>
    <p:restoredTop sz="97702" autoAdjust="0"/>
  </p:normalViewPr>
  <p:slideViewPr>
    <p:cSldViewPr>
      <p:cViewPr>
        <p:scale>
          <a:sx n="100" d="100"/>
          <a:sy n="100" d="100"/>
        </p:scale>
        <p:origin x="-1944" y="-60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62" d="100"/>
        <a:sy n="162" d="100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-2646" y="-10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" Target="slides/slide10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5.xml"/><Relationship Id="rId42" Type="http://schemas.openxmlformats.org/officeDocument/2006/relationships/notesMaster" Target="notesMasters/notesMaster1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" Target="slides/slide1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slide" Target="slides/slide11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" Target="slides/slide7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2.xml"/><Relationship Id="rId44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handoutMaster" Target="handoutMasters/handoutMaster1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5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image" Target="../media/image19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image" Target="../media/image19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2_3">
  <dgm:title val=""/>
  <dgm:desc val=""/>
  <dgm:catLst>
    <dgm:cat type="accent2" pri="11300"/>
  </dgm:catLst>
  <dgm:styleLbl name="node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shade val="80000"/>
      </a:schemeClr>
      <a:schemeClr val="accent2">
        <a:tint val="7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/>
    <dgm:txEffectClrLst/>
  </dgm:styleLbl>
  <dgm:styleLbl name="lnNode1">
    <dgm:fillClrLst>
      <a:schemeClr val="accent2">
        <a:shade val="80000"/>
      </a:schemeClr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2">
        <a:shade val="90000"/>
      </a:schemeClr>
      <a:schemeClr val="accent2">
        <a:tint val="70000"/>
      </a:schemeClr>
    </dgm:fillClrLst>
    <dgm:linClrLst>
      <a:schemeClr val="accent2">
        <a:shade val="90000"/>
      </a:schemeClr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9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8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shade val="80000"/>
      </a:schemeClr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5">
  <dgm:title val=""/>
  <dgm:desc val=""/>
  <dgm:catLst>
    <dgm:cat type="accent2" pri="11500"/>
  </dgm:catLst>
  <dgm:styleLbl name="node0">
    <dgm:fillClrLst meth="cycle">
      <a:schemeClr val="accent2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>
        <a:alpha val="90000"/>
      </a:schemeClr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>
        <a:alpha val="90000"/>
      </a:schemeClr>
      <a:schemeClr val="accent2">
        <a:alpha val="5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/>
    <dgm:txEffectClrLst/>
  </dgm:styleLbl>
  <dgm:styleLbl name="lnNode1">
    <dgm:fillClrLst>
      <a:schemeClr val="accent2">
        <a:shade val="90000"/>
      </a:schemeClr>
      <a:schemeClr val="accent2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shade val="80000"/>
        <a:alpha val="50000"/>
      </a:schemeClr>
      <a:schemeClr val="accent2">
        <a:alpha val="2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  <a:alpha val="90000"/>
      </a:schemeClr>
      <a:schemeClr val="accent2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f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bgSibTrans2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/>
    <dgm:txEffectClrLst/>
  </dgm:styleLbl>
  <dgm:styleLbl name="sibTrans1D1">
    <dgm:fillClrLst>
      <a:schemeClr val="accent2">
        <a:shade val="90000"/>
      </a:schemeClr>
      <a:schemeClr val="accent2">
        <a:tint val="50000"/>
      </a:schemeClr>
    </dgm:fillClrLst>
    <dgm:linClrLst>
      <a:schemeClr val="accent2">
        <a:shade val="90000"/>
      </a:schemeClr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2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>
        <a:shade val="8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>
        <a:alpha val="90000"/>
      </a:schemeClr>
      <a:schemeClr val="accent2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alpha val="90000"/>
        <a:tint val="40000"/>
      </a:schemeClr>
      <a:schemeClr val="accent2">
        <a:alpha val="5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0CCE2E1-9045-46FD-B7D6-A8B449EA89D2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7EEB506F-0A27-4EC1-A8BA-5B59460DEAAE}">
      <dgm:prSet phldrT="[Text]"/>
      <dgm:spPr>
        <a:xfrm rot="10800000">
          <a:off x="530689" y="1323"/>
          <a:ext cx="4216872" cy="1167486"/>
        </a:xfrm>
        <a:solidFill>
          <a:srgbClr val="0083BE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en-US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    </a:t>
          </a:r>
          <a:r>
            <a:rPr lang="en-US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ovides Veterans more choices </a:t>
          </a:r>
        </a:p>
      </dgm:t>
    </dgm:pt>
    <dgm:pt modelId="{ECAF23C5-8F73-444A-822E-84B5F6B4153C}" type="parTrans" cxnId="{748F35EA-B99C-4F98-A658-B212BD58A272}">
      <dgm:prSet/>
      <dgm:spPr/>
      <dgm:t>
        <a:bodyPr/>
        <a:lstStyle/>
        <a:p>
          <a:endParaRPr lang="en-US"/>
        </a:p>
      </dgm:t>
    </dgm:pt>
    <dgm:pt modelId="{FFB4A07C-2EB3-4ADD-9955-AE13740E6514}" type="sibTrans" cxnId="{748F35EA-B99C-4F98-A658-B212BD58A272}">
      <dgm:prSet/>
      <dgm:spPr/>
      <dgm:t>
        <a:bodyPr/>
        <a:lstStyle/>
        <a:p>
          <a:endParaRPr lang="en-US"/>
        </a:p>
      </dgm:t>
    </dgm:pt>
    <dgm:pt modelId="{F8B9A1AC-B3E0-49FC-9BB8-BF79E8136B04}">
      <dgm:prSet phldrT="[Text]"/>
      <dgm:spPr>
        <a:xfrm rot="10800000">
          <a:off x="530689" y="1517313"/>
          <a:ext cx="4216872" cy="1167486"/>
        </a:xfrm>
        <a:solidFill>
          <a:srgbClr val="0083BE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en-US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New</a:t>
          </a:r>
          <a:r>
            <a:rPr lang="en-US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  </a:t>
          </a:r>
          <a:r>
            <a:rPr lang="en-US" b="1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P</a:t>
          </a:r>
          <a:r>
            <a:rPr lang="en-US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oduct offering for lenders </a:t>
          </a:r>
        </a:p>
        <a:p>
          <a:pPr algn="ctr"/>
          <a:endParaRPr lang="en-US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03322CCA-3C3C-41EF-873B-D21599A1FC71}" type="parTrans" cxnId="{C88BA743-A70E-4DD6-810A-383C22E22846}">
      <dgm:prSet/>
      <dgm:spPr/>
      <dgm:t>
        <a:bodyPr/>
        <a:lstStyle/>
        <a:p>
          <a:endParaRPr lang="en-US"/>
        </a:p>
      </dgm:t>
    </dgm:pt>
    <dgm:pt modelId="{1FB8F447-7573-4DE1-8517-E87F5F4E07E7}" type="sibTrans" cxnId="{C88BA743-A70E-4DD6-810A-383C22E22846}">
      <dgm:prSet/>
      <dgm:spPr/>
      <dgm:t>
        <a:bodyPr/>
        <a:lstStyle/>
        <a:p>
          <a:endParaRPr lang="en-US"/>
        </a:p>
      </dgm:t>
    </dgm:pt>
    <dgm:pt modelId="{E1F92C39-C6CE-418B-884F-C85653D7FE9E}">
      <dgm:prSet phldrT="[Text]"/>
      <dgm:spPr>
        <a:xfrm rot="10800000">
          <a:off x="530689" y="3033303"/>
          <a:ext cx="4216872" cy="1167486"/>
        </a:xfrm>
        <a:solidFill>
          <a:srgbClr val="0083BE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  <dgm:t>
        <a:bodyPr/>
        <a:lstStyle/>
        <a:p>
          <a:pPr algn="ctr"/>
          <a:r>
            <a:rPr lang="en-US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    </a:t>
          </a:r>
          <a:r>
            <a:rPr lang="en-US" b="1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De-mystifies unclear guidance</a:t>
          </a:r>
        </a:p>
        <a:p>
          <a:pPr algn="ctr"/>
          <a:endParaRPr lang="en-US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5E330708-153B-45B4-8015-EA2B4422F11B}" type="parTrans" cxnId="{2D0525AD-375D-48A0-9684-5A03B5309AB4}">
      <dgm:prSet/>
      <dgm:spPr/>
      <dgm:t>
        <a:bodyPr/>
        <a:lstStyle/>
        <a:p>
          <a:endParaRPr lang="en-US"/>
        </a:p>
      </dgm:t>
    </dgm:pt>
    <dgm:pt modelId="{42F16B30-A410-45B3-A5EA-B3C925F6CBA1}" type="sibTrans" cxnId="{2D0525AD-375D-48A0-9684-5A03B5309AB4}">
      <dgm:prSet/>
      <dgm:spPr/>
      <dgm:t>
        <a:bodyPr/>
        <a:lstStyle/>
        <a:p>
          <a:endParaRPr lang="en-US"/>
        </a:p>
      </dgm:t>
    </dgm:pt>
    <dgm:pt modelId="{3174640B-98EC-47A5-AA8B-2F3597241335}" type="pres">
      <dgm:prSet presAssocID="{C0CCE2E1-9045-46FD-B7D6-A8B449EA89D2}" presName="linearFlow" presStyleCnt="0">
        <dgm:presLayoutVars>
          <dgm:dir/>
          <dgm:resizeHandles val="exact"/>
        </dgm:presLayoutVars>
      </dgm:prSet>
      <dgm:spPr/>
    </dgm:pt>
    <dgm:pt modelId="{D07E5F8C-410D-4C59-BC34-E4A25E2C829F}" type="pres">
      <dgm:prSet presAssocID="{7EEB506F-0A27-4EC1-A8BA-5B59460DEAAE}" presName="composite" presStyleCnt="0"/>
      <dgm:spPr/>
    </dgm:pt>
    <dgm:pt modelId="{A555D422-5674-4B59-8AC4-9D961711BD7B}" type="pres">
      <dgm:prSet presAssocID="{7EEB506F-0A27-4EC1-A8BA-5B59460DEAAE}" presName="imgShp" presStyleLbl="fgImgPlace1" presStyleIdx="0" presStyleCnt="3" custLinFactNeighborX="1984" custLinFactNeighborY="-113"/>
      <dgm:spPr>
        <a:xfrm>
          <a:off x="357837" y="1323"/>
          <a:ext cx="1167486" cy="1167486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347F278F-BC95-46B6-898E-244FD46FD489}" type="pres">
      <dgm:prSet presAssocID="{7EEB506F-0A27-4EC1-A8BA-5B59460DEAAE}" presName="txShp" presStyleLbl="node1" presStyleIdx="0" presStyleCnt="3" custScaleX="124205" custLinFactNeighborX="84606" custLinFactNeighborY="-19694">
        <dgm:presLayoutVars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en-US"/>
        </a:p>
      </dgm:t>
    </dgm:pt>
    <dgm:pt modelId="{3756610E-8D2B-4ADB-B8D8-4033E91463A1}" type="pres">
      <dgm:prSet presAssocID="{FFB4A07C-2EB3-4ADD-9955-AE13740E6514}" presName="spacing" presStyleCnt="0"/>
      <dgm:spPr/>
    </dgm:pt>
    <dgm:pt modelId="{6BA5DBE6-A2F4-468A-953D-2DE2A6EE13D4}" type="pres">
      <dgm:prSet presAssocID="{F8B9A1AC-B3E0-49FC-9BB8-BF79E8136B04}" presName="composite" presStyleCnt="0"/>
      <dgm:spPr/>
    </dgm:pt>
    <dgm:pt modelId="{887D1955-639B-4977-987B-FD718FE8B443}" type="pres">
      <dgm:prSet presAssocID="{F8B9A1AC-B3E0-49FC-9BB8-BF79E8136B04}" presName="imgShp" presStyleLbl="fgImgPlace1" presStyleIdx="1" presStyleCnt="3"/>
      <dgm:spPr>
        <a:xfrm>
          <a:off x="357837" y="1517313"/>
          <a:ext cx="1167486" cy="1167486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21A12EBD-9009-4A29-B73B-0D0B783D5EAC}" type="pres">
      <dgm:prSet presAssocID="{F8B9A1AC-B3E0-49FC-9BB8-BF79E8136B04}" presName="txShp" presStyleLbl="node1" presStyleIdx="1" presStyleCnt="3" custScaleX="124205" custLinFactNeighborX="10540">
        <dgm:presLayoutVars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en-US"/>
        </a:p>
      </dgm:t>
    </dgm:pt>
    <dgm:pt modelId="{9B9DE04E-0FEA-418D-9D0C-A4FF92D8CE03}" type="pres">
      <dgm:prSet presAssocID="{1FB8F447-7573-4DE1-8517-E87F5F4E07E7}" presName="spacing" presStyleCnt="0"/>
      <dgm:spPr/>
    </dgm:pt>
    <dgm:pt modelId="{773E73C9-88DD-4F6A-BB80-61737C931B00}" type="pres">
      <dgm:prSet presAssocID="{E1F92C39-C6CE-418B-884F-C85653D7FE9E}" presName="composite" presStyleCnt="0"/>
      <dgm:spPr/>
    </dgm:pt>
    <dgm:pt modelId="{52AB5A79-34BD-455E-B24D-3DC7F715C724}" type="pres">
      <dgm:prSet presAssocID="{E1F92C39-C6CE-418B-884F-C85653D7FE9E}" presName="imgShp" presStyleLbl="fgImgPlace1" presStyleIdx="2" presStyleCnt="3"/>
      <dgm:spPr>
        <a:xfrm>
          <a:off x="357837" y="3033303"/>
          <a:ext cx="1167486" cy="1167486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5000" b="-2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gm:spPr>
    </dgm:pt>
    <dgm:pt modelId="{D020B0BB-1727-4913-BA10-A43758ACFA93}" type="pres">
      <dgm:prSet presAssocID="{E1F92C39-C6CE-418B-884F-C85653D7FE9E}" presName="txShp" presStyleLbl="node1" presStyleIdx="2" presStyleCnt="3" custScaleX="124205" custLinFactNeighborX="10540" custLinFactNeighborY="113">
        <dgm:presLayoutVars>
          <dgm:bulletEnabled val="1"/>
        </dgm:presLayoutVars>
      </dgm:prSet>
      <dgm:spPr>
        <a:prstGeom prst="homePlate">
          <a:avLst/>
        </a:prstGeom>
      </dgm:spPr>
      <dgm:t>
        <a:bodyPr/>
        <a:lstStyle/>
        <a:p>
          <a:endParaRPr lang="en-US"/>
        </a:p>
      </dgm:t>
    </dgm:pt>
  </dgm:ptLst>
  <dgm:cxnLst>
    <dgm:cxn modelId="{AC57E13E-A7D0-4E57-8F64-F835909B6CB8}" type="presOf" srcId="{7EEB506F-0A27-4EC1-A8BA-5B59460DEAAE}" destId="{347F278F-BC95-46B6-898E-244FD46FD489}" srcOrd="0" destOrd="0" presId="urn:microsoft.com/office/officeart/2005/8/layout/vList3"/>
    <dgm:cxn modelId="{31ECCAF5-80D6-49C2-A533-3FC6779E4481}" type="presOf" srcId="{C0CCE2E1-9045-46FD-B7D6-A8B449EA89D2}" destId="{3174640B-98EC-47A5-AA8B-2F3597241335}" srcOrd="0" destOrd="0" presId="urn:microsoft.com/office/officeart/2005/8/layout/vList3"/>
    <dgm:cxn modelId="{2D0525AD-375D-48A0-9684-5A03B5309AB4}" srcId="{C0CCE2E1-9045-46FD-B7D6-A8B449EA89D2}" destId="{E1F92C39-C6CE-418B-884F-C85653D7FE9E}" srcOrd="2" destOrd="0" parTransId="{5E330708-153B-45B4-8015-EA2B4422F11B}" sibTransId="{42F16B30-A410-45B3-A5EA-B3C925F6CBA1}"/>
    <dgm:cxn modelId="{C88BA743-A70E-4DD6-810A-383C22E22846}" srcId="{C0CCE2E1-9045-46FD-B7D6-A8B449EA89D2}" destId="{F8B9A1AC-B3E0-49FC-9BB8-BF79E8136B04}" srcOrd="1" destOrd="0" parTransId="{03322CCA-3C3C-41EF-873B-D21599A1FC71}" sibTransId="{1FB8F447-7573-4DE1-8517-E87F5F4E07E7}"/>
    <dgm:cxn modelId="{A7E042A4-B60D-4C7A-8CDC-88CD7ABD829E}" type="presOf" srcId="{E1F92C39-C6CE-418B-884F-C85653D7FE9E}" destId="{D020B0BB-1727-4913-BA10-A43758ACFA93}" srcOrd="0" destOrd="0" presId="urn:microsoft.com/office/officeart/2005/8/layout/vList3"/>
    <dgm:cxn modelId="{748F35EA-B99C-4F98-A658-B212BD58A272}" srcId="{C0CCE2E1-9045-46FD-B7D6-A8B449EA89D2}" destId="{7EEB506F-0A27-4EC1-A8BA-5B59460DEAAE}" srcOrd="0" destOrd="0" parTransId="{ECAF23C5-8F73-444A-822E-84B5F6B4153C}" sibTransId="{FFB4A07C-2EB3-4ADD-9955-AE13740E6514}"/>
    <dgm:cxn modelId="{BE4685D1-F2BF-41D4-A391-BDA70314975D}" type="presOf" srcId="{F8B9A1AC-B3E0-49FC-9BB8-BF79E8136B04}" destId="{21A12EBD-9009-4A29-B73B-0D0B783D5EAC}" srcOrd="0" destOrd="0" presId="urn:microsoft.com/office/officeart/2005/8/layout/vList3"/>
    <dgm:cxn modelId="{F257F68B-2FD3-457D-9C14-B4359CA01169}" type="presParOf" srcId="{3174640B-98EC-47A5-AA8B-2F3597241335}" destId="{D07E5F8C-410D-4C59-BC34-E4A25E2C829F}" srcOrd="0" destOrd="0" presId="urn:microsoft.com/office/officeart/2005/8/layout/vList3"/>
    <dgm:cxn modelId="{2B294E5A-3CD6-4AA7-87B4-E65E3D06ED5D}" type="presParOf" srcId="{D07E5F8C-410D-4C59-BC34-E4A25E2C829F}" destId="{A555D422-5674-4B59-8AC4-9D961711BD7B}" srcOrd="0" destOrd="0" presId="urn:microsoft.com/office/officeart/2005/8/layout/vList3"/>
    <dgm:cxn modelId="{D4B23D92-5BA0-43D2-A48E-C989FC8FE6D2}" type="presParOf" srcId="{D07E5F8C-410D-4C59-BC34-E4A25E2C829F}" destId="{347F278F-BC95-46B6-898E-244FD46FD489}" srcOrd="1" destOrd="0" presId="urn:microsoft.com/office/officeart/2005/8/layout/vList3"/>
    <dgm:cxn modelId="{25528D9A-C477-45D8-99D1-4C6142952289}" type="presParOf" srcId="{3174640B-98EC-47A5-AA8B-2F3597241335}" destId="{3756610E-8D2B-4ADB-B8D8-4033E91463A1}" srcOrd="1" destOrd="0" presId="urn:microsoft.com/office/officeart/2005/8/layout/vList3"/>
    <dgm:cxn modelId="{CAE510DB-00D6-4E32-A398-630801E0AD86}" type="presParOf" srcId="{3174640B-98EC-47A5-AA8B-2F3597241335}" destId="{6BA5DBE6-A2F4-468A-953D-2DE2A6EE13D4}" srcOrd="2" destOrd="0" presId="urn:microsoft.com/office/officeart/2005/8/layout/vList3"/>
    <dgm:cxn modelId="{DE112C13-15B8-4EF9-AFD6-F3B185EF96EC}" type="presParOf" srcId="{6BA5DBE6-A2F4-468A-953D-2DE2A6EE13D4}" destId="{887D1955-639B-4977-987B-FD718FE8B443}" srcOrd="0" destOrd="0" presId="urn:microsoft.com/office/officeart/2005/8/layout/vList3"/>
    <dgm:cxn modelId="{B025D0D5-00C0-4719-82C5-A28E2F478799}" type="presParOf" srcId="{6BA5DBE6-A2F4-468A-953D-2DE2A6EE13D4}" destId="{21A12EBD-9009-4A29-B73B-0D0B783D5EAC}" srcOrd="1" destOrd="0" presId="urn:microsoft.com/office/officeart/2005/8/layout/vList3"/>
    <dgm:cxn modelId="{9D035728-4C38-4FB3-BF4E-3C3FA6BE053A}" type="presParOf" srcId="{3174640B-98EC-47A5-AA8B-2F3597241335}" destId="{9B9DE04E-0FEA-418D-9D0C-A4FF92D8CE03}" srcOrd="3" destOrd="0" presId="urn:microsoft.com/office/officeart/2005/8/layout/vList3"/>
    <dgm:cxn modelId="{D3BC10EF-0DBD-41F0-89AC-6E392074590A}" type="presParOf" srcId="{3174640B-98EC-47A5-AA8B-2F3597241335}" destId="{773E73C9-88DD-4F6A-BB80-61737C931B00}" srcOrd="4" destOrd="0" presId="urn:microsoft.com/office/officeart/2005/8/layout/vList3"/>
    <dgm:cxn modelId="{4FBE2F45-3089-4375-95C6-98F0BFCC428A}" type="presParOf" srcId="{773E73C9-88DD-4F6A-BB80-61737C931B00}" destId="{52AB5A79-34BD-455E-B24D-3DC7F715C724}" srcOrd="0" destOrd="0" presId="urn:microsoft.com/office/officeart/2005/8/layout/vList3"/>
    <dgm:cxn modelId="{B565443E-EAD3-4385-826B-25E38E1C1559}" type="presParOf" srcId="{773E73C9-88DD-4F6A-BB80-61737C931B00}" destId="{D020B0BB-1727-4913-BA10-A43758ACFA93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49817A5-4331-4F69-B231-FC619BA658BA}" type="doc">
      <dgm:prSet loTypeId="urn:microsoft.com/office/officeart/2009/3/layout/BlockDescendingList" loCatId="list" qsTypeId="urn:microsoft.com/office/officeart/2005/8/quickstyle/simple1" qsCatId="simple" csTypeId="urn:microsoft.com/office/officeart/2005/8/colors/accent2_3" csCatId="accent2" phldr="1"/>
      <dgm:spPr/>
      <dgm:t>
        <a:bodyPr/>
        <a:lstStyle/>
        <a:p>
          <a:endParaRPr lang="en-US"/>
        </a:p>
      </dgm:t>
    </dgm:pt>
    <dgm:pt modelId="{F965ED94-1F61-48DD-B7B3-75D76AAE0899}">
      <dgm:prSet phldrT="[Text]" custT="1"/>
      <dgm:spPr/>
      <dgm:t>
        <a:bodyPr/>
        <a:lstStyle/>
        <a:p>
          <a:pPr algn="ctr"/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Lock in the value</a:t>
          </a:r>
          <a:endParaRPr lang="en-US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2613060-8BCC-493B-8999-721C682576F2}" type="parTrans" cxnId="{3B485FAA-999B-4088-88FA-86E6E9096154}">
      <dgm:prSet/>
      <dgm:spPr/>
      <dgm:t>
        <a:bodyPr/>
        <a:lstStyle/>
        <a:p>
          <a:endParaRPr lang="en-US"/>
        </a:p>
      </dgm:t>
    </dgm:pt>
    <dgm:pt modelId="{F71AEB82-712B-42C7-BB63-4E97D0EC479C}" type="sibTrans" cxnId="{3B485FAA-999B-4088-88FA-86E6E9096154}">
      <dgm:prSet/>
      <dgm:spPr/>
      <dgm:t>
        <a:bodyPr/>
        <a:lstStyle/>
        <a:p>
          <a:endParaRPr lang="en-US"/>
        </a:p>
      </dgm:t>
    </dgm:pt>
    <dgm:pt modelId="{077F6FC9-DAC5-4CF0-BA72-58A6E6363074}">
      <dgm:prSet phldrT="[Text]" phldr="1"/>
      <dgm:spPr/>
      <dgm:t>
        <a:bodyPr/>
        <a:lstStyle/>
        <a:p>
          <a:endParaRPr lang="en-US" dirty="0"/>
        </a:p>
      </dgm:t>
    </dgm:pt>
    <dgm:pt modelId="{B6868B50-58E4-4902-87F4-0868DD9766FB}" type="parTrans" cxnId="{6147AE02-6C93-4670-BE17-976DC9A6D5FD}">
      <dgm:prSet/>
      <dgm:spPr/>
      <dgm:t>
        <a:bodyPr/>
        <a:lstStyle/>
        <a:p>
          <a:endParaRPr lang="en-US"/>
        </a:p>
      </dgm:t>
    </dgm:pt>
    <dgm:pt modelId="{885F7E1E-31DC-4D7D-9EA5-6100A52886BB}" type="sibTrans" cxnId="{6147AE02-6C93-4670-BE17-976DC9A6D5FD}">
      <dgm:prSet/>
      <dgm:spPr/>
      <dgm:t>
        <a:bodyPr/>
        <a:lstStyle/>
        <a:p>
          <a:endParaRPr lang="en-US"/>
        </a:p>
      </dgm:t>
    </dgm:pt>
    <dgm:pt modelId="{583D5301-7909-4332-A90A-04B828446A93}">
      <dgm:prSet phldrT="[Text]" custT="1"/>
      <dgm:spPr/>
      <dgm:t>
        <a:bodyPr/>
        <a:lstStyle/>
        <a:p>
          <a:r>
            <a:rPr lang="en-US" sz="2400" b="1" dirty="0" smtClean="0">
              <a:latin typeface="Arial" panose="020B0604020202020204" pitchFamily="34" charset="0"/>
              <a:cs typeface="Arial" panose="020B0604020202020204" pitchFamily="34" charset="0"/>
            </a:rPr>
            <a:t>Understandable</a:t>
          </a:r>
          <a:endParaRPr lang="en-US" sz="2400" b="1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4E7C2BD-CB43-4F11-B90B-0E071665A780}" type="parTrans" cxnId="{2E613804-A2F2-43DE-A41E-BE571DC06023}">
      <dgm:prSet/>
      <dgm:spPr/>
      <dgm:t>
        <a:bodyPr/>
        <a:lstStyle/>
        <a:p>
          <a:endParaRPr lang="en-US"/>
        </a:p>
      </dgm:t>
    </dgm:pt>
    <dgm:pt modelId="{3F6A6539-5B61-46F6-9860-00C3D405928E}" type="sibTrans" cxnId="{2E613804-A2F2-43DE-A41E-BE571DC06023}">
      <dgm:prSet/>
      <dgm:spPr/>
      <dgm:t>
        <a:bodyPr/>
        <a:lstStyle/>
        <a:p>
          <a:endParaRPr lang="en-US"/>
        </a:p>
      </dgm:t>
    </dgm:pt>
    <dgm:pt modelId="{8547063B-98D3-4144-A947-768DB82FD13D}">
      <dgm:prSet phldrT="[Text]" phldr="1"/>
      <dgm:spPr/>
      <dgm:t>
        <a:bodyPr/>
        <a:lstStyle/>
        <a:p>
          <a:endParaRPr lang="en-US" dirty="0"/>
        </a:p>
      </dgm:t>
    </dgm:pt>
    <dgm:pt modelId="{11A6236E-0155-4BB2-A17F-C66C1A545287}" type="parTrans" cxnId="{5C8E2AB8-0215-4D1E-959F-CCA92CECA7A5}">
      <dgm:prSet/>
      <dgm:spPr/>
      <dgm:t>
        <a:bodyPr/>
        <a:lstStyle/>
        <a:p>
          <a:endParaRPr lang="en-US"/>
        </a:p>
      </dgm:t>
    </dgm:pt>
    <dgm:pt modelId="{40FB6E8D-E77B-47D1-8787-5EC747DF7C04}" type="sibTrans" cxnId="{5C8E2AB8-0215-4D1E-959F-CCA92CECA7A5}">
      <dgm:prSet/>
      <dgm:spPr/>
      <dgm:t>
        <a:bodyPr/>
        <a:lstStyle/>
        <a:p>
          <a:endParaRPr lang="en-US"/>
        </a:p>
      </dgm:t>
    </dgm:pt>
    <dgm:pt modelId="{E754BE84-A2F4-4A4B-A631-37A7DF1BBDF8}">
      <dgm:prSet phldrT="[Text]" custT="1"/>
      <dgm:spPr/>
      <dgm:t>
        <a:bodyPr/>
        <a:lstStyle/>
        <a:p>
          <a:r>
            <a:rPr lang="en-US" sz="2400" dirty="0" smtClean="0">
              <a:latin typeface="Arial" panose="020B0604020202020204" pitchFamily="34" charset="0"/>
              <a:cs typeface="Arial" panose="020B0604020202020204" pitchFamily="34" charset="0"/>
            </a:rPr>
            <a:t>Easy to use</a:t>
          </a:r>
          <a:endParaRPr lang="en-US" sz="2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3CAD792-9A61-4DD0-B008-A7EE168DBC66}" type="parTrans" cxnId="{205C8883-D01C-431A-A3E7-779522459898}">
      <dgm:prSet/>
      <dgm:spPr/>
      <dgm:t>
        <a:bodyPr/>
        <a:lstStyle/>
        <a:p>
          <a:endParaRPr lang="en-US"/>
        </a:p>
      </dgm:t>
    </dgm:pt>
    <dgm:pt modelId="{B067D407-9D00-4A35-A732-57DFFFFC0CF8}" type="sibTrans" cxnId="{205C8883-D01C-431A-A3E7-779522459898}">
      <dgm:prSet/>
      <dgm:spPr/>
      <dgm:t>
        <a:bodyPr/>
        <a:lstStyle/>
        <a:p>
          <a:endParaRPr lang="en-US"/>
        </a:p>
      </dgm:t>
    </dgm:pt>
    <dgm:pt modelId="{A8D361B7-83FA-40C2-BBE0-2F8453EABCCA}">
      <dgm:prSet phldrT="[Text]" phldr="1"/>
      <dgm:spPr/>
      <dgm:t>
        <a:bodyPr/>
        <a:lstStyle/>
        <a:p>
          <a:endParaRPr lang="en-US" dirty="0"/>
        </a:p>
      </dgm:t>
    </dgm:pt>
    <dgm:pt modelId="{268D5146-9766-437B-BB98-C8A241323804}" type="parTrans" cxnId="{C7ADD098-441B-4686-9A5F-50F555776680}">
      <dgm:prSet/>
      <dgm:spPr/>
      <dgm:t>
        <a:bodyPr/>
        <a:lstStyle/>
        <a:p>
          <a:endParaRPr lang="en-US"/>
        </a:p>
      </dgm:t>
    </dgm:pt>
    <dgm:pt modelId="{ECD0F65F-F281-4F78-818C-8F2EA0AFDF90}" type="sibTrans" cxnId="{C7ADD098-441B-4686-9A5F-50F555776680}">
      <dgm:prSet/>
      <dgm:spPr/>
      <dgm:t>
        <a:bodyPr/>
        <a:lstStyle/>
        <a:p>
          <a:endParaRPr lang="en-US"/>
        </a:p>
      </dgm:t>
    </dgm:pt>
    <dgm:pt modelId="{07FFF114-93AC-4E7A-BD15-A27CDB5BDDC0}">
      <dgm:prSet phldrT="[Text]" phldr="1"/>
      <dgm:spPr/>
      <dgm:t>
        <a:bodyPr/>
        <a:lstStyle/>
        <a:p>
          <a:endParaRPr lang="en-US" dirty="0"/>
        </a:p>
      </dgm:t>
    </dgm:pt>
    <dgm:pt modelId="{F157B869-C307-49FD-90A5-A5F1F5B7282C}" type="parTrans" cxnId="{D8CCC251-D48C-466F-9DCB-5C6A6A03841E}">
      <dgm:prSet/>
      <dgm:spPr/>
      <dgm:t>
        <a:bodyPr/>
        <a:lstStyle/>
        <a:p>
          <a:endParaRPr lang="en-US"/>
        </a:p>
      </dgm:t>
    </dgm:pt>
    <dgm:pt modelId="{F7378AB2-08EF-4C74-8810-A553532A3E43}" type="sibTrans" cxnId="{D8CCC251-D48C-466F-9DCB-5C6A6A03841E}">
      <dgm:prSet/>
      <dgm:spPr/>
      <dgm:t>
        <a:bodyPr/>
        <a:lstStyle/>
        <a:p>
          <a:endParaRPr lang="en-US"/>
        </a:p>
      </dgm:t>
    </dgm:pt>
    <dgm:pt modelId="{277A1E00-C326-4E9C-86C7-486F91C18C85}" type="pres">
      <dgm:prSet presAssocID="{649817A5-4331-4F69-B231-FC619BA658BA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2AB31DD9-E870-4C98-93B8-8686A65B4197}" type="pres">
      <dgm:prSet presAssocID="{F965ED94-1F61-48DD-B7B3-75D76AAE0899}" presName="parentText_1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256D71-1586-454F-BBBF-FE480D2FDC34}" type="pres">
      <dgm:prSet presAssocID="{F965ED94-1F61-48DD-B7B3-75D76AAE0899}" presName="childText_1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4A1698-9700-4B9B-A21A-36FBD019F433}" type="pres">
      <dgm:prSet presAssocID="{F965ED94-1F61-48DD-B7B3-75D76AAE0899}" presName="accentShape_1" presStyleCnt="0"/>
      <dgm:spPr/>
    </dgm:pt>
    <dgm:pt modelId="{C898C78E-082D-4E2E-BF3C-43E7B6F914DC}" type="pres">
      <dgm:prSet presAssocID="{F965ED94-1F61-48DD-B7B3-75D76AAE0899}" presName="imageRepeatNode" presStyleLbl="node1" presStyleIdx="0" presStyleCnt="3"/>
      <dgm:spPr/>
      <dgm:t>
        <a:bodyPr/>
        <a:lstStyle/>
        <a:p>
          <a:endParaRPr lang="en-US"/>
        </a:p>
      </dgm:t>
    </dgm:pt>
    <dgm:pt modelId="{15E478F3-E0BE-440B-BE66-308570E36624}" type="pres">
      <dgm:prSet presAssocID="{583D5301-7909-4332-A90A-04B828446A93}" presName="parentText_2" presStyleLbl="node1" presStyleIdx="0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CEF70F-6652-4DC6-92F2-4754FF663556}" type="pres">
      <dgm:prSet presAssocID="{583D5301-7909-4332-A90A-04B828446A93}" presName="childText_2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6565E3-3AB3-45E6-83A5-007B05A83252}" type="pres">
      <dgm:prSet presAssocID="{583D5301-7909-4332-A90A-04B828446A93}" presName="accentShape_2" presStyleCnt="0"/>
      <dgm:spPr/>
    </dgm:pt>
    <dgm:pt modelId="{F8E11BEC-5BBC-4BC8-A183-E8AFE6157D9B}" type="pres">
      <dgm:prSet presAssocID="{583D5301-7909-4332-A90A-04B828446A93}" presName="imageRepeatNode" presStyleLbl="node1" presStyleIdx="1" presStyleCnt="3"/>
      <dgm:spPr/>
      <dgm:t>
        <a:bodyPr/>
        <a:lstStyle/>
        <a:p>
          <a:endParaRPr lang="en-US"/>
        </a:p>
      </dgm:t>
    </dgm:pt>
    <dgm:pt modelId="{E880D63C-BBFD-444C-810F-6D8815F73C38}" type="pres">
      <dgm:prSet presAssocID="{E754BE84-A2F4-4A4B-A631-37A7DF1BBDF8}" presName="parentText_3" presStyleLbl="node1" presStyleIdx="1" presStyleCnt="3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E3FACE7-9BD8-4E1F-BB9F-5B92F5376E80}" type="pres">
      <dgm:prSet presAssocID="{E754BE84-A2F4-4A4B-A631-37A7DF1BBDF8}" presName="childText_3" presStyleLbl="node2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D75F10D-DCFF-48CC-9E2F-306176840CCC}" type="pres">
      <dgm:prSet presAssocID="{E754BE84-A2F4-4A4B-A631-37A7DF1BBDF8}" presName="accentShape_3" presStyleCnt="0"/>
      <dgm:spPr/>
    </dgm:pt>
    <dgm:pt modelId="{3DEDFD31-0ED4-4231-BCC1-940CFDC38D71}" type="pres">
      <dgm:prSet presAssocID="{E754BE84-A2F4-4A4B-A631-37A7DF1BBDF8}" presName="imageRepeatNode" presStyleLbl="node1" presStyleIdx="2" presStyleCnt="3" custLinFactNeighborX="2739" custLinFactNeighborY="-260"/>
      <dgm:spPr/>
      <dgm:t>
        <a:bodyPr/>
        <a:lstStyle/>
        <a:p>
          <a:endParaRPr lang="en-US"/>
        </a:p>
      </dgm:t>
    </dgm:pt>
  </dgm:ptLst>
  <dgm:cxnLst>
    <dgm:cxn modelId="{2027F1C5-5F0D-49D3-A50C-1364EED53132}" type="presOf" srcId="{E754BE84-A2F4-4A4B-A631-37A7DF1BBDF8}" destId="{3DEDFD31-0ED4-4231-BCC1-940CFDC38D71}" srcOrd="1" destOrd="0" presId="urn:microsoft.com/office/officeart/2009/3/layout/BlockDescendingList"/>
    <dgm:cxn modelId="{6CA0C138-3F11-464B-B6F9-DC0D120E79A9}" type="presOf" srcId="{649817A5-4331-4F69-B231-FC619BA658BA}" destId="{277A1E00-C326-4E9C-86C7-486F91C18C85}" srcOrd="0" destOrd="0" presId="urn:microsoft.com/office/officeart/2009/3/layout/BlockDescendingList"/>
    <dgm:cxn modelId="{BDA72D51-AB60-4372-83CB-1FAF162E6F73}" type="presOf" srcId="{07FFF114-93AC-4E7A-BD15-A27CDB5BDDC0}" destId="{FE3FACE7-9BD8-4E1F-BB9F-5B92F5376E80}" srcOrd="0" destOrd="1" presId="urn:microsoft.com/office/officeart/2009/3/layout/BlockDescendingList"/>
    <dgm:cxn modelId="{3B485FAA-999B-4088-88FA-86E6E9096154}" srcId="{649817A5-4331-4F69-B231-FC619BA658BA}" destId="{F965ED94-1F61-48DD-B7B3-75D76AAE0899}" srcOrd="0" destOrd="0" parTransId="{52613060-8BCC-493B-8999-721C682576F2}" sibTransId="{F71AEB82-712B-42C7-BB63-4E97D0EC479C}"/>
    <dgm:cxn modelId="{1ACA99C0-9DA7-4BB1-9136-BA0AF619C7D7}" type="presOf" srcId="{E754BE84-A2F4-4A4B-A631-37A7DF1BBDF8}" destId="{E880D63C-BBFD-444C-810F-6D8815F73C38}" srcOrd="0" destOrd="0" presId="urn:microsoft.com/office/officeart/2009/3/layout/BlockDescendingList"/>
    <dgm:cxn modelId="{205C8883-D01C-431A-A3E7-779522459898}" srcId="{649817A5-4331-4F69-B231-FC619BA658BA}" destId="{E754BE84-A2F4-4A4B-A631-37A7DF1BBDF8}" srcOrd="2" destOrd="0" parTransId="{73CAD792-9A61-4DD0-B008-A7EE168DBC66}" sibTransId="{B067D407-9D00-4A35-A732-57DFFFFC0CF8}"/>
    <dgm:cxn modelId="{5C8E2AB8-0215-4D1E-959F-CCA92CECA7A5}" srcId="{583D5301-7909-4332-A90A-04B828446A93}" destId="{8547063B-98D3-4144-A947-768DB82FD13D}" srcOrd="0" destOrd="0" parTransId="{11A6236E-0155-4BB2-A17F-C66C1A545287}" sibTransId="{40FB6E8D-E77B-47D1-8787-5EC747DF7C04}"/>
    <dgm:cxn modelId="{6147AE02-6C93-4670-BE17-976DC9A6D5FD}" srcId="{F965ED94-1F61-48DD-B7B3-75D76AAE0899}" destId="{077F6FC9-DAC5-4CF0-BA72-58A6E6363074}" srcOrd="0" destOrd="0" parTransId="{B6868B50-58E4-4902-87F4-0868DD9766FB}" sibTransId="{885F7E1E-31DC-4D7D-9EA5-6100A52886BB}"/>
    <dgm:cxn modelId="{BD27048F-0C5F-4527-AB52-70DB01E2243E}" type="presOf" srcId="{8547063B-98D3-4144-A947-768DB82FD13D}" destId="{CCCEF70F-6652-4DC6-92F2-4754FF663556}" srcOrd="0" destOrd="0" presId="urn:microsoft.com/office/officeart/2009/3/layout/BlockDescendingList"/>
    <dgm:cxn modelId="{D8CCC251-D48C-466F-9DCB-5C6A6A03841E}" srcId="{E754BE84-A2F4-4A4B-A631-37A7DF1BBDF8}" destId="{07FFF114-93AC-4E7A-BD15-A27CDB5BDDC0}" srcOrd="1" destOrd="0" parTransId="{F157B869-C307-49FD-90A5-A5F1F5B7282C}" sibTransId="{F7378AB2-08EF-4C74-8810-A553532A3E43}"/>
    <dgm:cxn modelId="{07CD6673-0F9B-4D7D-B80A-F26813FCF04F}" type="presOf" srcId="{077F6FC9-DAC5-4CF0-BA72-58A6E6363074}" destId="{91256D71-1586-454F-BBBF-FE480D2FDC34}" srcOrd="0" destOrd="0" presId="urn:microsoft.com/office/officeart/2009/3/layout/BlockDescendingList"/>
    <dgm:cxn modelId="{DCA92374-C326-44BD-AE29-CD4A70E0E805}" type="presOf" srcId="{583D5301-7909-4332-A90A-04B828446A93}" destId="{15E478F3-E0BE-440B-BE66-308570E36624}" srcOrd="0" destOrd="0" presId="urn:microsoft.com/office/officeart/2009/3/layout/BlockDescendingList"/>
    <dgm:cxn modelId="{44430EAB-3443-4EFE-939F-72A5C7245C48}" type="presOf" srcId="{F965ED94-1F61-48DD-B7B3-75D76AAE0899}" destId="{2AB31DD9-E870-4C98-93B8-8686A65B4197}" srcOrd="0" destOrd="0" presId="urn:microsoft.com/office/officeart/2009/3/layout/BlockDescendingList"/>
    <dgm:cxn modelId="{9B2D296A-FAA8-4190-9788-075CC0BBC3D6}" type="presOf" srcId="{583D5301-7909-4332-A90A-04B828446A93}" destId="{F8E11BEC-5BBC-4BC8-A183-E8AFE6157D9B}" srcOrd="1" destOrd="0" presId="urn:microsoft.com/office/officeart/2009/3/layout/BlockDescendingList"/>
    <dgm:cxn modelId="{1F11C12F-8E1C-487F-B045-E9968562556B}" type="presOf" srcId="{F965ED94-1F61-48DD-B7B3-75D76AAE0899}" destId="{C898C78E-082D-4E2E-BF3C-43E7B6F914DC}" srcOrd="1" destOrd="0" presId="urn:microsoft.com/office/officeart/2009/3/layout/BlockDescendingList"/>
    <dgm:cxn modelId="{C7ADD098-441B-4686-9A5F-50F555776680}" srcId="{E754BE84-A2F4-4A4B-A631-37A7DF1BBDF8}" destId="{A8D361B7-83FA-40C2-BBE0-2F8453EABCCA}" srcOrd="0" destOrd="0" parTransId="{268D5146-9766-437B-BB98-C8A241323804}" sibTransId="{ECD0F65F-F281-4F78-818C-8F2EA0AFDF90}"/>
    <dgm:cxn modelId="{2E613804-A2F2-43DE-A41E-BE571DC06023}" srcId="{649817A5-4331-4F69-B231-FC619BA658BA}" destId="{583D5301-7909-4332-A90A-04B828446A93}" srcOrd="1" destOrd="0" parTransId="{74E7C2BD-CB43-4F11-B90B-0E071665A780}" sibTransId="{3F6A6539-5B61-46F6-9860-00C3D405928E}"/>
    <dgm:cxn modelId="{FAC0F831-1287-42AB-A5E0-F8CD180EA087}" type="presOf" srcId="{A8D361B7-83FA-40C2-BBE0-2F8453EABCCA}" destId="{FE3FACE7-9BD8-4E1F-BB9F-5B92F5376E80}" srcOrd="0" destOrd="0" presId="urn:microsoft.com/office/officeart/2009/3/layout/BlockDescendingList"/>
    <dgm:cxn modelId="{F848B82C-3983-4FC1-BA90-8261BB27C5FA}" type="presParOf" srcId="{277A1E00-C326-4E9C-86C7-486F91C18C85}" destId="{2AB31DD9-E870-4C98-93B8-8686A65B4197}" srcOrd="0" destOrd="0" presId="urn:microsoft.com/office/officeart/2009/3/layout/BlockDescendingList"/>
    <dgm:cxn modelId="{8A8F8384-E02A-4048-8509-84A501B2E5E6}" type="presParOf" srcId="{277A1E00-C326-4E9C-86C7-486F91C18C85}" destId="{91256D71-1586-454F-BBBF-FE480D2FDC34}" srcOrd="1" destOrd="0" presId="urn:microsoft.com/office/officeart/2009/3/layout/BlockDescendingList"/>
    <dgm:cxn modelId="{BB8877A9-567A-482F-8581-206D389473C1}" type="presParOf" srcId="{277A1E00-C326-4E9C-86C7-486F91C18C85}" destId="{BA4A1698-9700-4B9B-A21A-36FBD019F433}" srcOrd="2" destOrd="0" presId="urn:microsoft.com/office/officeart/2009/3/layout/BlockDescendingList"/>
    <dgm:cxn modelId="{2D032917-1968-4204-8B2A-BAC5A744B741}" type="presParOf" srcId="{BA4A1698-9700-4B9B-A21A-36FBD019F433}" destId="{C898C78E-082D-4E2E-BF3C-43E7B6F914DC}" srcOrd="0" destOrd="0" presId="urn:microsoft.com/office/officeart/2009/3/layout/BlockDescendingList"/>
    <dgm:cxn modelId="{C8A8F105-6E1D-4027-9E4F-52D9B21C49F6}" type="presParOf" srcId="{277A1E00-C326-4E9C-86C7-486F91C18C85}" destId="{15E478F3-E0BE-440B-BE66-308570E36624}" srcOrd="3" destOrd="0" presId="urn:microsoft.com/office/officeart/2009/3/layout/BlockDescendingList"/>
    <dgm:cxn modelId="{4605FFC5-392C-4727-9B49-6ED3E477B02A}" type="presParOf" srcId="{277A1E00-C326-4E9C-86C7-486F91C18C85}" destId="{CCCEF70F-6652-4DC6-92F2-4754FF663556}" srcOrd="4" destOrd="0" presId="urn:microsoft.com/office/officeart/2009/3/layout/BlockDescendingList"/>
    <dgm:cxn modelId="{697FE528-F9E5-4557-80F4-A18489EA3C5F}" type="presParOf" srcId="{277A1E00-C326-4E9C-86C7-486F91C18C85}" destId="{146565E3-3AB3-45E6-83A5-007B05A83252}" srcOrd="5" destOrd="0" presId="urn:microsoft.com/office/officeart/2009/3/layout/BlockDescendingList"/>
    <dgm:cxn modelId="{F04E6F42-36B7-41EE-8F99-45918CC76FEE}" type="presParOf" srcId="{146565E3-3AB3-45E6-83A5-007B05A83252}" destId="{F8E11BEC-5BBC-4BC8-A183-E8AFE6157D9B}" srcOrd="0" destOrd="0" presId="urn:microsoft.com/office/officeart/2009/3/layout/BlockDescendingList"/>
    <dgm:cxn modelId="{F09CC450-BC22-49AA-AAC8-7EB6EF35D8A4}" type="presParOf" srcId="{277A1E00-C326-4E9C-86C7-486F91C18C85}" destId="{E880D63C-BBFD-444C-810F-6D8815F73C38}" srcOrd="6" destOrd="0" presId="urn:microsoft.com/office/officeart/2009/3/layout/BlockDescendingList"/>
    <dgm:cxn modelId="{92B5E012-9482-446E-8586-A66781E76E68}" type="presParOf" srcId="{277A1E00-C326-4E9C-86C7-486F91C18C85}" destId="{FE3FACE7-9BD8-4E1F-BB9F-5B92F5376E80}" srcOrd="7" destOrd="0" presId="urn:microsoft.com/office/officeart/2009/3/layout/BlockDescendingList"/>
    <dgm:cxn modelId="{F081B552-5BA9-43A4-A131-6E5D152C1B1B}" type="presParOf" srcId="{277A1E00-C326-4E9C-86C7-486F91C18C85}" destId="{4D75F10D-DCFF-48CC-9E2F-306176840CCC}" srcOrd="8" destOrd="0" presId="urn:microsoft.com/office/officeart/2009/3/layout/BlockDescendingList"/>
    <dgm:cxn modelId="{43CC48DE-5AD4-428C-A3EC-C88E4E4FA6BF}" type="presParOf" srcId="{4D75F10D-DCFF-48CC-9E2F-306176840CCC}" destId="{3DEDFD31-0ED4-4231-BCC1-940CFDC38D71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9027AEF-767E-495C-9A8C-06CB05F87B01}" type="doc">
      <dgm:prSet loTypeId="urn:microsoft.com/office/officeart/2005/8/layout/arrow3" loCatId="relationship" qsTypeId="urn:microsoft.com/office/officeart/2005/8/quickstyle/simple1" qsCatId="simple" csTypeId="urn:microsoft.com/office/officeart/2005/8/colors/accent2_5" csCatId="accent2" phldr="1"/>
      <dgm:spPr/>
      <dgm:t>
        <a:bodyPr/>
        <a:lstStyle/>
        <a:p>
          <a:endParaRPr lang="en-US"/>
        </a:p>
      </dgm:t>
    </dgm:pt>
    <dgm:pt modelId="{6ABA3353-D0F7-4DAA-902E-E8D86FF9B91F}">
      <dgm:prSet phldrT="[Text]"/>
      <dgm:spPr/>
      <dgm:t>
        <a:bodyPr/>
        <a:lstStyle/>
        <a:p>
          <a:r>
            <a:rPr lang="en-US" dirty="0" smtClean="0"/>
            <a:t>1-Time Close</a:t>
          </a:r>
          <a:endParaRPr lang="en-US" dirty="0"/>
        </a:p>
      </dgm:t>
    </dgm:pt>
    <dgm:pt modelId="{BACB4249-AF86-4230-9658-768C6FF696C8}" type="parTrans" cxnId="{923FCC34-0EE6-493C-89E7-E3306A47304A}">
      <dgm:prSet/>
      <dgm:spPr/>
      <dgm:t>
        <a:bodyPr/>
        <a:lstStyle/>
        <a:p>
          <a:endParaRPr lang="en-US"/>
        </a:p>
      </dgm:t>
    </dgm:pt>
    <dgm:pt modelId="{456E42B6-45E5-4A87-AABA-CC33C1C52332}" type="sibTrans" cxnId="{923FCC34-0EE6-493C-89E7-E3306A47304A}">
      <dgm:prSet/>
      <dgm:spPr/>
      <dgm:t>
        <a:bodyPr/>
        <a:lstStyle/>
        <a:p>
          <a:endParaRPr lang="en-US"/>
        </a:p>
      </dgm:t>
    </dgm:pt>
    <dgm:pt modelId="{6A00D860-E04A-4A30-B948-6C83EAFD0272}">
      <dgm:prSet phldrT="[Text]"/>
      <dgm:spPr/>
      <dgm:t>
        <a:bodyPr/>
        <a:lstStyle/>
        <a:p>
          <a:r>
            <a:rPr lang="en-US" dirty="0" smtClean="0"/>
            <a:t>2-Time Close</a:t>
          </a:r>
          <a:endParaRPr lang="en-US" dirty="0"/>
        </a:p>
      </dgm:t>
    </dgm:pt>
    <dgm:pt modelId="{9443E236-DE8A-4F06-99A4-CBB1772D09E3}" type="parTrans" cxnId="{6C5BDC85-E787-4681-8496-4924D7F944AA}">
      <dgm:prSet/>
      <dgm:spPr/>
      <dgm:t>
        <a:bodyPr/>
        <a:lstStyle/>
        <a:p>
          <a:endParaRPr lang="en-US"/>
        </a:p>
      </dgm:t>
    </dgm:pt>
    <dgm:pt modelId="{D530D418-1BB5-44D8-85B6-E89E0B840B0E}" type="sibTrans" cxnId="{6C5BDC85-E787-4681-8496-4924D7F944AA}">
      <dgm:prSet/>
      <dgm:spPr/>
      <dgm:t>
        <a:bodyPr/>
        <a:lstStyle/>
        <a:p>
          <a:endParaRPr lang="en-US"/>
        </a:p>
      </dgm:t>
    </dgm:pt>
    <dgm:pt modelId="{C9203729-5917-4637-90AC-9BEDD4FF2E35}" type="pres">
      <dgm:prSet presAssocID="{99027AEF-767E-495C-9A8C-06CB05F87B01}" presName="compositeShape" presStyleCnt="0">
        <dgm:presLayoutVars>
          <dgm:chMax val="2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A025DB13-517B-41C9-ACB1-5551AC11DFA0}" type="pres">
      <dgm:prSet presAssocID="{99027AEF-767E-495C-9A8C-06CB05F87B01}" presName="divider" presStyleLbl="fgShp" presStyleIdx="0" presStyleCnt="1"/>
      <dgm:spPr/>
    </dgm:pt>
    <dgm:pt modelId="{2DC57816-B857-4BDA-B22E-B27CD7998CCF}" type="pres">
      <dgm:prSet presAssocID="{6ABA3353-D0F7-4DAA-902E-E8D86FF9B91F}" presName="downArrow" presStyleLbl="node1" presStyleIdx="0" presStyleCnt="2"/>
      <dgm:spPr/>
    </dgm:pt>
    <dgm:pt modelId="{720B3D19-314E-46D0-AAD7-C5EE29792F2F}" type="pres">
      <dgm:prSet presAssocID="{6ABA3353-D0F7-4DAA-902E-E8D86FF9B91F}" presName="downArrow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A47BBE-43BA-414F-B25C-07345296BE18}" type="pres">
      <dgm:prSet presAssocID="{6A00D860-E04A-4A30-B948-6C83EAFD0272}" presName="upArrow" presStyleLbl="node1" presStyleIdx="1" presStyleCnt="2"/>
      <dgm:spPr/>
    </dgm:pt>
    <dgm:pt modelId="{1919004B-87A4-489B-9F4A-86195BFACBFF}" type="pres">
      <dgm:prSet presAssocID="{6A00D860-E04A-4A30-B948-6C83EAFD0272}" presName="upArrow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C5BDC85-E787-4681-8496-4924D7F944AA}" srcId="{99027AEF-767E-495C-9A8C-06CB05F87B01}" destId="{6A00D860-E04A-4A30-B948-6C83EAFD0272}" srcOrd="1" destOrd="0" parTransId="{9443E236-DE8A-4F06-99A4-CBB1772D09E3}" sibTransId="{D530D418-1BB5-44D8-85B6-E89E0B840B0E}"/>
    <dgm:cxn modelId="{7414B860-F728-4DFC-AEE0-4FA5EABA3B10}" type="presOf" srcId="{6ABA3353-D0F7-4DAA-902E-E8D86FF9B91F}" destId="{720B3D19-314E-46D0-AAD7-C5EE29792F2F}" srcOrd="0" destOrd="0" presId="urn:microsoft.com/office/officeart/2005/8/layout/arrow3"/>
    <dgm:cxn modelId="{72607A6F-6520-4341-AFA8-8C45282BFDA4}" type="presOf" srcId="{99027AEF-767E-495C-9A8C-06CB05F87B01}" destId="{C9203729-5917-4637-90AC-9BEDD4FF2E35}" srcOrd="0" destOrd="0" presId="urn:microsoft.com/office/officeart/2005/8/layout/arrow3"/>
    <dgm:cxn modelId="{923FCC34-0EE6-493C-89E7-E3306A47304A}" srcId="{99027AEF-767E-495C-9A8C-06CB05F87B01}" destId="{6ABA3353-D0F7-4DAA-902E-E8D86FF9B91F}" srcOrd="0" destOrd="0" parTransId="{BACB4249-AF86-4230-9658-768C6FF696C8}" sibTransId="{456E42B6-45E5-4A87-AABA-CC33C1C52332}"/>
    <dgm:cxn modelId="{F0D23F82-E8D1-4A83-B3C4-9D940C954494}" type="presOf" srcId="{6A00D860-E04A-4A30-B948-6C83EAFD0272}" destId="{1919004B-87A4-489B-9F4A-86195BFACBFF}" srcOrd="0" destOrd="0" presId="urn:microsoft.com/office/officeart/2005/8/layout/arrow3"/>
    <dgm:cxn modelId="{EFB206FD-3B9A-4F45-B1CE-90D48DD39FE2}" type="presParOf" srcId="{C9203729-5917-4637-90AC-9BEDD4FF2E35}" destId="{A025DB13-517B-41C9-ACB1-5551AC11DFA0}" srcOrd="0" destOrd="0" presId="urn:microsoft.com/office/officeart/2005/8/layout/arrow3"/>
    <dgm:cxn modelId="{97D51CDB-0A8A-49C4-A404-50F08AF34FCB}" type="presParOf" srcId="{C9203729-5917-4637-90AC-9BEDD4FF2E35}" destId="{2DC57816-B857-4BDA-B22E-B27CD7998CCF}" srcOrd="1" destOrd="0" presId="urn:microsoft.com/office/officeart/2005/8/layout/arrow3"/>
    <dgm:cxn modelId="{DDAE58A6-34F9-494F-84F0-DCA59823844B}" type="presParOf" srcId="{C9203729-5917-4637-90AC-9BEDD4FF2E35}" destId="{720B3D19-314E-46D0-AAD7-C5EE29792F2F}" srcOrd="2" destOrd="0" presId="urn:microsoft.com/office/officeart/2005/8/layout/arrow3"/>
    <dgm:cxn modelId="{4E4D2C8F-209D-42CE-9B2A-41C3306A4221}" type="presParOf" srcId="{C9203729-5917-4637-90AC-9BEDD4FF2E35}" destId="{92A47BBE-43BA-414F-B25C-07345296BE18}" srcOrd="3" destOrd="0" presId="urn:microsoft.com/office/officeart/2005/8/layout/arrow3"/>
    <dgm:cxn modelId="{52F4D355-1CC3-4347-BFD7-87C839EF3478}" type="presParOf" srcId="{C9203729-5917-4637-90AC-9BEDD4FF2E35}" destId="{1919004B-87A4-489B-9F4A-86195BFACBFF}" srcOrd="4" destOrd="0" presId="urn:microsoft.com/office/officeart/2005/8/layout/arrow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7CEF795-FC6F-4457-9D37-66CB5EF4D9E7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50F75AC4-AB53-4824-AF37-5C740FC26FE4}">
      <dgm:prSet phldrT="[Text]"/>
      <dgm:spPr/>
      <dgm:t>
        <a:bodyPr/>
        <a:lstStyle/>
        <a:p>
          <a:r>
            <a:rPr lang="en-US" dirty="0" smtClean="0"/>
            <a:t>How do I order appraisal?</a:t>
          </a:r>
          <a:endParaRPr lang="en-US" dirty="0"/>
        </a:p>
      </dgm:t>
    </dgm:pt>
    <dgm:pt modelId="{AB853DA8-F9C2-49F7-AE4B-E6775C4C7A46}" type="parTrans" cxnId="{D8C32308-2D6A-47B9-8D65-6450F66B62CC}">
      <dgm:prSet/>
      <dgm:spPr/>
      <dgm:t>
        <a:bodyPr/>
        <a:lstStyle/>
        <a:p>
          <a:endParaRPr lang="en-US"/>
        </a:p>
      </dgm:t>
    </dgm:pt>
    <dgm:pt modelId="{6E729D74-876A-46B2-AA64-275EE30E9580}" type="sibTrans" cxnId="{D8C32308-2D6A-47B9-8D65-6450F66B62CC}">
      <dgm:prSet/>
      <dgm:spPr/>
      <dgm:t>
        <a:bodyPr/>
        <a:lstStyle/>
        <a:p>
          <a:endParaRPr lang="en-US"/>
        </a:p>
      </dgm:t>
    </dgm:pt>
    <dgm:pt modelId="{A375ACE3-A903-4D52-8F2F-D25F435691D7}">
      <dgm:prSet phldrT="[Text]"/>
      <dgm:spPr/>
      <dgm:t>
        <a:bodyPr/>
        <a:lstStyle/>
        <a:p>
          <a:r>
            <a:rPr lang="en-US" dirty="0" smtClean="0"/>
            <a:t>I can’t guaranty the loan…</a:t>
          </a:r>
          <a:endParaRPr lang="en-US" dirty="0"/>
        </a:p>
      </dgm:t>
    </dgm:pt>
    <dgm:pt modelId="{83F9B9A3-490C-46D8-886D-0EB4CF040105}" type="parTrans" cxnId="{6546CB91-FAE4-42E3-8908-8BD3FFD6D59D}">
      <dgm:prSet/>
      <dgm:spPr/>
      <dgm:t>
        <a:bodyPr/>
        <a:lstStyle/>
        <a:p>
          <a:endParaRPr lang="en-US"/>
        </a:p>
      </dgm:t>
    </dgm:pt>
    <dgm:pt modelId="{33F90B87-9DAD-4CB3-B162-6C5E217CE8FE}" type="sibTrans" cxnId="{6546CB91-FAE4-42E3-8908-8BD3FFD6D59D}">
      <dgm:prSet/>
      <dgm:spPr/>
      <dgm:t>
        <a:bodyPr/>
        <a:lstStyle/>
        <a:p>
          <a:endParaRPr lang="en-US"/>
        </a:p>
      </dgm:t>
    </dgm:pt>
    <dgm:pt modelId="{626D34B9-9A57-4D76-8C62-67405CDE2D82}">
      <dgm:prSet phldrT="[Text]"/>
      <dgm:spPr/>
      <dgm:t>
        <a:bodyPr/>
        <a:lstStyle/>
        <a:p>
          <a:r>
            <a:rPr lang="en-US" dirty="0" smtClean="0"/>
            <a:t>Different office, different answer</a:t>
          </a:r>
          <a:endParaRPr lang="en-US" dirty="0"/>
        </a:p>
      </dgm:t>
    </dgm:pt>
    <dgm:pt modelId="{FAA77A91-B74D-4252-B9EF-2A95652A9832}" type="parTrans" cxnId="{5509E99F-F3F1-4AEB-9D60-DBB53A12DB87}">
      <dgm:prSet/>
      <dgm:spPr/>
      <dgm:t>
        <a:bodyPr/>
        <a:lstStyle/>
        <a:p>
          <a:endParaRPr lang="en-US"/>
        </a:p>
      </dgm:t>
    </dgm:pt>
    <dgm:pt modelId="{B65C02BC-A1AF-4502-B719-C905C26BE85B}" type="sibTrans" cxnId="{5509E99F-F3F1-4AEB-9D60-DBB53A12DB87}">
      <dgm:prSet/>
      <dgm:spPr/>
      <dgm:t>
        <a:bodyPr/>
        <a:lstStyle/>
        <a:p>
          <a:endParaRPr lang="en-US"/>
        </a:p>
      </dgm:t>
    </dgm:pt>
    <dgm:pt modelId="{DD62C3F4-F9B6-4B75-8065-779A76CA86AD}" type="pres">
      <dgm:prSet presAssocID="{D7CEF795-FC6F-4457-9D37-66CB5EF4D9E7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8EB2CC-385F-4F3A-8F4D-18A4366A4141}" type="pres">
      <dgm:prSet presAssocID="{50F75AC4-AB53-4824-AF37-5C740FC26FE4}" presName="parentLin" presStyleCnt="0"/>
      <dgm:spPr/>
    </dgm:pt>
    <dgm:pt modelId="{007003D1-6E68-405E-94BC-C5FFBF0A3797}" type="pres">
      <dgm:prSet presAssocID="{50F75AC4-AB53-4824-AF37-5C740FC26FE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C63ADAEB-78D1-46FA-8B5A-68242DDECA3F}" type="pres">
      <dgm:prSet presAssocID="{50F75AC4-AB53-4824-AF37-5C740FC26FE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3E4AAA-784B-4F40-B714-D3E6939E97D1}" type="pres">
      <dgm:prSet presAssocID="{50F75AC4-AB53-4824-AF37-5C740FC26FE4}" presName="negativeSpace" presStyleCnt="0"/>
      <dgm:spPr/>
    </dgm:pt>
    <dgm:pt modelId="{DBA8C427-B661-4DC4-A47A-12AA8705B4C1}" type="pres">
      <dgm:prSet presAssocID="{50F75AC4-AB53-4824-AF37-5C740FC26FE4}" presName="childText" presStyleLbl="conFgAcc1" presStyleIdx="0" presStyleCnt="3" custLinFactY="-25213" custLinFactNeighborX="3636" custLinFactNeighborY="-100000">
        <dgm:presLayoutVars>
          <dgm:bulletEnabled val="1"/>
        </dgm:presLayoutVars>
      </dgm:prSet>
      <dgm:spPr/>
    </dgm:pt>
    <dgm:pt modelId="{9E14D4E6-68FA-40DC-862D-B9BC8225DD3B}" type="pres">
      <dgm:prSet presAssocID="{6E729D74-876A-46B2-AA64-275EE30E9580}" presName="spaceBetweenRectangles" presStyleCnt="0"/>
      <dgm:spPr/>
    </dgm:pt>
    <dgm:pt modelId="{73CB689A-1AD9-4FC9-B0E3-E9970497650F}" type="pres">
      <dgm:prSet presAssocID="{A375ACE3-A903-4D52-8F2F-D25F435691D7}" presName="parentLin" presStyleCnt="0"/>
      <dgm:spPr/>
    </dgm:pt>
    <dgm:pt modelId="{D557DC28-95AF-4852-8B12-E981D304E380}" type="pres">
      <dgm:prSet presAssocID="{A375ACE3-A903-4D52-8F2F-D25F435691D7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452780C2-00E0-41E8-8B21-12D81E24486E}" type="pres">
      <dgm:prSet presAssocID="{A375ACE3-A903-4D52-8F2F-D25F435691D7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2CA3D0-4D1F-4C34-8C03-AAE88F27881D}" type="pres">
      <dgm:prSet presAssocID="{A375ACE3-A903-4D52-8F2F-D25F435691D7}" presName="negativeSpace" presStyleCnt="0"/>
      <dgm:spPr/>
    </dgm:pt>
    <dgm:pt modelId="{66D481E2-9ED2-4F87-8701-8ACDD88B2907}" type="pres">
      <dgm:prSet presAssocID="{A375ACE3-A903-4D52-8F2F-D25F435691D7}" presName="childText" presStyleLbl="conFgAcc1" presStyleIdx="1" presStyleCnt="3">
        <dgm:presLayoutVars>
          <dgm:bulletEnabled val="1"/>
        </dgm:presLayoutVars>
      </dgm:prSet>
      <dgm:spPr/>
    </dgm:pt>
    <dgm:pt modelId="{1A092A55-9542-4838-95B2-AF1ADF760F7B}" type="pres">
      <dgm:prSet presAssocID="{33F90B87-9DAD-4CB3-B162-6C5E217CE8FE}" presName="spaceBetweenRectangles" presStyleCnt="0"/>
      <dgm:spPr/>
    </dgm:pt>
    <dgm:pt modelId="{E86F2E0E-0570-4F18-A8DE-9A5A3FFDAB7E}" type="pres">
      <dgm:prSet presAssocID="{626D34B9-9A57-4D76-8C62-67405CDE2D82}" presName="parentLin" presStyleCnt="0"/>
      <dgm:spPr/>
    </dgm:pt>
    <dgm:pt modelId="{BB918A82-C0EC-4F8E-AF97-D1A7FF0426EB}" type="pres">
      <dgm:prSet presAssocID="{626D34B9-9A57-4D76-8C62-67405CDE2D82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1F735615-7D3E-4837-BB55-C8E072FA6D26}" type="pres">
      <dgm:prSet presAssocID="{626D34B9-9A57-4D76-8C62-67405CDE2D82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860BAA-293B-4B13-960B-0787C60BE1AF}" type="pres">
      <dgm:prSet presAssocID="{626D34B9-9A57-4D76-8C62-67405CDE2D82}" presName="negativeSpace" presStyleCnt="0"/>
      <dgm:spPr/>
    </dgm:pt>
    <dgm:pt modelId="{79A234AC-21D9-4A44-A024-7B43FDB6C2AD}" type="pres">
      <dgm:prSet presAssocID="{626D34B9-9A57-4D76-8C62-67405CDE2D82}" presName="childText" presStyleLbl="conFgAcc1" presStyleIdx="2" presStyleCnt="3" custLinFactNeighborX="-2469" custLinFactNeighborY="2234">
        <dgm:presLayoutVars>
          <dgm:bulletEnabled val="1"/>
        </dgm:presLayoutVars>
      </dgm:prSet>
      <dgm:spPr/>
    </dgm:pt>
  </dgm:ptLst>
  <dgm:cxnLst>
    <dgm:cxn modelId="{CDA39BF1-AC29-470E-AD99-45882B5A8807}" type="presOf" srcId="{50F75AC4-AB53-4824-AF37-5C740FC26FE4}" destId="{C63ADAEB-78D1-46FA-8B5A-68242DDECA3F}" srcOrd="1" destOrd="0" presId="urn:microsoft.com/office/officeart/2005/8/layout/list1"/>
    <dgm:cxn modelId="{D8C32308-2D6A-47B9-8D65-6450F66B62CC}" srcId="{D7CEF795-FC6F-4457-9D37-66CB5EF4D9E7}" destId="{50F75AC4-AB53-4824-AF37-5C740FC26FE4}" srcOrd="0" destOrd="0" parTransId="{AB853DA8-F9C2-49F7-AE4B-E6775C4C7A46}" sibTransId="{6E729D74-876A-46B2-AA64-275EE30E9580}"/>
    <dgm:cxn modelId="{307A58B6-B7FE-4593-B96A-A0A1E87E2E4A}" type="presOf" srcId="{D7CEF795-FC6F-4457-9D37-66CB5EF4D9E7}" destId="{DD62C3F4-F9B6-4B75-8065-779A76CA86AD}" srcOrd="0" destOrd="0" presId="urn:microsoft.com/office/officeart/2005/8/layout/list1"/>
    <dgm:cxn modelId="{22563A72-FE78-4053-99D1-349431636C1A}" type="presOf" srcId="{A375ACE3-A903-4D52-8F2F-D25F435691D7}" destId="{452780C2-00E0-41E8-8B21-12D81E24486E}" srcOrd="1" destOrd="0" presId="urn:microsoft.com/office/officeart/2005/8/layout/list1"/>
    <dgm:cxn modelId="{6546CB91-FAE4-42E3-8908-8BD3FFD6D59D}" srcId="{D7CEF795-FC6F-4457-9D37-66CB5EF4D9E7}" destId="{A375ACE3-A903-4D52-8F2F-D25F435691D7}" srcOrd="1" destOrd="0" parTransId="{83F9B9A3-490C-46D8-886D-0EB4CF040105}" sibTransId="{33F90B87-9DAD-4CB3-B162-6C5E217CE8FE}"/>
    <dgm:cxn modelId="{85F3567A-3D6D-45D5-AE81-3DEE8B949571}" type="presOf" srcId="{A375ACE3-A903-4D52-8F2F-D25F435691D7}" destId="{D557DC28-95AF-4852-8B12-E981D304E380}" srcOrd="0" destOrd="0" presId="urn:microsoft.com/office/officeart/2005/8/layout/list1"/>
    <dgm:cxn modelId="{7CE9BD02-AB84-4B47-9123-769D1058973B}" type="presOf" srcId="{626D34B9-9A57-4D76-8C62-67405CDE2D82}" destId="{1F735615-7D3E-4837-BB55-C8E072FA6D26}" srcOrd="1" destOrd="0" presId="urn:microsoft.com/office/officeart/2005/8/layout/list1"/>
    <dgm:cxn modelId="{FEE4A8F7-AE99-4F64-B6CB-6B5FB661CD6B}" type="presOf" srcId="{626D34B9-9A57-4D76-8C62-67405CDE2D82}" destId="{BB918A82-C0EC-4F8E-AF97-D1A7FF0426EB}" srcOrd="0" destOrd="0" presId="urn:microsoft.com/office/officeart/2005/8/layout/list1"/>
    <dgm:cxn modelId="{5509E99F-F3F1-4AEB-9D60-DBB53A12DB87}" srcId="{D7CEF795-FC6F-4457-9D37-66CB5EF4D9E7}" destId="{626D34B9-9A57-4D76-8C62-67405CDE2D82}" srcOrd="2" destOrd="0" parTransId="{FAA77A91-B74D-4252-B9EF-2A95652A9832}" sibTransId="{B65C02BC-A1AF-4502-B719-C905C26BE85B}"/>
    <dgm:cxn modelId="{EAB2DD07-50F0-4F4F-978B-EA21D45337AF}" type="presOf" srcId="{50F75AC4-AB53-4824-AF37-5C740FC26FE4}" destId="{007003D1-6E68-405E-94BC-C5FFBF0A3797}" srcOrd="0" destOrd="0" presId="urn:microsoft.com/office/officeart/2005/8/layout/list1"/>
    <dgm:cxn modelId="{689CD8E3-895B-453D-85C2-5CEFB756D8C6}" type="presParOf" srcId="{DD62C3F4-F9B6-4B75-8065-779A76CA86AD}" destId="{2A8EB2CC-385F-4F3A-8F4D-18A4366A4141}" srcOrd="0" destOrd="0" presId="urn:microsoft.com/office/officeart/2005/8/layout/list1"/>
    <dgm:cxn modelId="{1AD9AE7E-EAEE-401A-9E1A-F0ADFEDC5D33}" type="presParOf" srcId="{2A8EB2CC-385F-4F3A-8F4D-18A4366A4141}" destId="{007003D1-6E68-405E-94BC-C5FFBF0A3797}" srcOrd="0" destOrd="0" presId="urn:microsoft.com/office/officeart/2005/8/layout/list1"/>
    <dgm:cxn modelId="{C33CAE63-88F0-4673-87AE-82ACA9E0262C}" type="presParOf" srcId="{2A8EB2CC-385F-4F3A-8F4D-18A4366A4141}" destId="{C63ADAEB-78D1-46FA-8B5A-68242DDECA3F}" srcOrd="1" destOrd="0" presId="urn:microsoft.com/office/officeart/2005/8/layout/list1"/>
    <dgm:cxn modelId="{8CE50BDC-140D-476F-A47D-DD149CF9D938}" type="presParOf" srcId="{DD62C3F4-F9B6-4B75-8065-779A76CA86AD}" destId="{5C3E4AAA-784B-4F40-B714-D3E6939E97D1}" srcOrd="1" destOrd="0" presId="urn:microsoft.com/office/officeart/2005/8/layout/list1"/>
    <dgm:cxn modelId="{9E6CF3F2-CE19-4159-9DC9-0DDEE6981805}" type="presParOf" srcId="{DD62C3F4-F9B6-4B75-8065-779A76CA86AD}" destId="{DBA8C427-B661-4DC4-A47A-12AA8705B4C1}" srcOrd="2" destOrd="0" presId="urn:microsoft.com/office/officeart/2005/8/layout/list1"/>
    <dgm:cxn modelId="{7B31376A-5464-46BD-8666-92905202A880}" type="presParOf" srcId="{DD62C3F4-F9B6-4B75-8065-779A76CA86AD}" destId="{9E14D4E6-68FA-40DC-862D-B9BC8225DD3B}" srcOrd="3" destOrd="0" presId="urn:microsoft.com/office/officeart/2005/8/layout/list1"/>
    <dgm:cxn modelId="{6BB38650-9164-4967-A805-6B8F9F51DE44}" type="presParOf" srcId="{DD62C3F4-F9B6-4B75-8065-779A76CA86AD}" destId="{73CB689A-1AD9-4FC9-B0E3-E9970497650F}" srcOrd="4" destOrd="0" presId="urn:microsoft.com/office/officeart/2005/8/layout/list1"/>
    <dgm:cxn modelId="{BCC67FEB-91D9-4182-A44C-8B359AEA9D87}" type="presParOf" srcId="{73CB689A-1AD9-4FC9-B0E3-E9970497650F}" destId="{D557DC28-95AF-4852-8B12-E981D304E380}" srcOrd="0" destOrd="0" presId="urn:microsoft.com/office/officeart/2005/8/layout/list1"/>
    <dgm:cxn modelId="{F4DE5BFC-C691-41C6-8B59-5DECC9458BF9}" type="presParOf" srcId="{73CB689A-1AD9-4FC9-B0E3-E9970497650F}" destId="{452780C2-00E0-41E8-8B21-12D81E24486E}" srcOrd="1" destOrd="0" presId="urn:microsoft.com/office/officeart/2005/8/layout/list1"/>
    <dgm:cxn modelId="{3A0838D8-39D0-42AB-8250-7B4E5EC53C2D}" type="presParOf" srcId="{DD62C3F4-F9B6-4B75-8065-779A76CA86AD}" destId="{482CA3D0-4D1F-4C34-8C03-AAE88F27881D}" srcOrd="5" destOrd="0" presId="urn:microsoft.com/office/officeart/2005/8/layout/list1"/>
    <dgm:cxn modelId="{1B0C4C98-9232-4ED2-BDE9-BE94FCBF193F}" type="presParOf" srcId="{DD62C3F4-F9B6-4B75-8065-779A76CA86AD}" destId="{66D481E2-9ED2-4F87-8701-8ACDD88B2907}" srcOrd="6" destOrd="0" presId="urn:microsoft.com/office/officeart/2005/8/layout/list1"/>
    <dgm:cxn modelId="{7AAB56CC-F76A-4883-A398-2F2B291DA6AF}" type="presParOf" srcId="{DD62C3F4-F9B6-4B75-8065-779A76CA86AD}" destId="{1A092A55-9542-4838-95B2-AF1ADF760F7B}" srcOrd="7" destOrd="0" presId="urn:microsoft.com/office/officeart/2005/8/layout/list1"/>
    <dgm:cxn modelId="{741C5A06-1493-4057-B261-E77C69A5E64C}" type="presParOf" srcId="{DD62C3F4-F9B6-4B75-8065-779A76CA86AD}" destId="{E86F2E0E-0570-4F18-A8DE-9A5A3FFDAB7E}" srcOrd="8" destOrd="0" presId="urn:microsoft.com/office/officeart/2005/8/layout/list1"/>
    <dgm:cxn modelId="{C66F7488-1B12-4D38-AA11-4808164F53D2}" type="presParOf" srcId="{E86F2E0E-0570-4F18-A8DE-9A5A3FFDAB7E}" destId="{BB918A82-C0EC-4F8E-AF97-D1A7FF0426EB}" srcOrd="0" destOrd="0" presId="urn:microsoft.com/office/officeart/2005/8/layout/list1"/>
    <dgm:cxn modelId="{BA16A306-570B-424E-9669-50C5FED8DB7B}" type="presParOf" srcId="{E86F2E0E-0570-4F18-A8DE-9A5A3FFDAB7E}" destId="{1F735615-7D3E-4837-BB55-C8E072FA6D26}" srcOrd="1" destOrd="0" presId="urn:microsoft.com/office/officeart/2005/8/layout/list1"/>
    <dgm:cxn modelId="{8E934FC1-B831-454F-8407-11F3AA10570B}" type="presParOf" srcId="{DD62C3F4-F9B6-4B75-8065-779A76CA86AD}" destId="{30860BAA-293B-4B13-960B-0787C60BE1AF}" srcOrd="9" destOrd="0" presId="urn:microsoft.com/office/officeart/2005/8/layout/list1"/>
    <dgm:cxn modelId="{6E6275DE-7BEA-40CD-B414-98D3DB0DF983}" type="presParOf" srcId="{DD62C3F4-F9B6-4B75-8065-779A76CA86AD}" destId="{79A234AC-21D9-4A44-A024-7B43FDB6C2A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D7CEF795-FC6F-4457-9D37-66CB5EF4D9E7}" type="doc">
      <dgm:prSet loTypeId="urn:microsoft.com/office/officeart/2005/8/layout/list1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en-US"/>
        </a:p>
      </dgm:t>
    </dgm:pt>
    <dgm:pt modelId="{50F75AC4-AB53-4824-AF37-5C740FC26FE4}">
      <dgm:prSet phldrT="[Text]"/>
      <dgm:spPr/>
      <dgm:t>
        <a:bodyPr/>
        <a:lstStyle/>
        <a:p>
          <a:r>
            <a:rPr lang="en-US" dirty="0" smtClean="0"/>
            <a:t>Does lot ownership  reduce the funding fee?</a:t>
          </a:r>
          <a:endParaRPr lang="en-US" dirty="0"/>
        </a:p>
      </dgm:t>
    </dgm:pt>
    <dgm:pt modelId="{AB853DA8-F9C2-49F7-AE4B-E6775C4C7A46}" type="parTrans" cxnId="{D8C32308-2D6A-47B9-8D65-6450F66B62CC}">
      <dgm:prSet/>
      <dgm:spPr/>
      <dgm:t>
        <a:bodyPr/>
        <a:lstStyle/>
        <a:p>
          <a:endParaRPr lang="en-US"/>
        </a:p>
      </dgm:t>
    </dgm:pt>
    <dgm:pt modelId="{6E729D74-876A-46B2-AA64-275EE30E9580}" type="sibTrans" cxnId="{D8C32308-2D6A-47B9-8D65-6450F66B62CC}">
      <dgm:prSet/>
      <dgm:spPr/>
      <dgm:t>
        <a:bodyPr/>
        <a:lstStyle/>
        <a:p>
          <a:endParaRPr lang="en-US"/>
        </a:p>
      </dgm:t>
    </dgm:pt>
    <dgm:pt modelId="{A375ACE3-A903-4D52-8F2F-D25F435691D7}">
      <dgm:prSet phldrT="[Text]"/>
      <dgm:spPr/>
      <dgm:t>
        <a:bodyPr/>
        <a:lstStyle/>
        <a:p>
          <a:r>
            <a:rPr lang="en-US" dirty="0" smtClean="0"/>
            <a:t>How does lot  ownership effect  cash-back?</a:t>
          </a:r>
          <a:endParaRPr lang="en-US" dirty="0"/>
        </a:p>
      </dgm:t>
    </dgm:pt>
    <dgm:pt modelId="{83F9B9A3-490C-46D8-886D-0EB4CF040105}" type="parTrans" cxnId="{6546CB91-FAE4-42E3-8908-8BD3FFD6D59D}">
      <dgm:prSet/>
      <dgm:spPr/>
      <dgm:t>
        <a:bodyPr/>
        <a:lstStyle/>
        <a:p>
          <a:endParaRPr lang="en-US"/>
        </a:p>
      </dgm:t>
    </dgm:pt>
    <dgm:pt modelId="{33F90B87-9DAD-4CB3-B162-6C5E217CE8FE}" type="sibTrans" cxnId="{6546CB91-FAE4-42E3-8908-8BD3FFD6D59D}">
      <dgm:prSet/>
      <dgm:spPr/>
      <dgm:t>
        <a:bodyPr/>
        <a:lstStyle/>
        <a:p>
          <a:endParaRPr lang="en-US"/>
        </a:p>
      </dgm:t>
    </dgm:pt>
    <dgm:pt modelId="{626D34B9-9A57-4D76-8C62-67405CDE2D82}">
      <dgm:prSet phldrT="[Text]"/>
      <dgm:spPr/>
      <dgm:t>
        <a:bodyPr/>
        <a:lstStyle/>
        <a:p>
          <a:r>
            <a:rPr lang="en-US" dirty="0" smtClean="0"/>
            <a:t>What if  repairs/work still needs to be done?</a:t>
          </a:r>
          <a:endParaRPr lang="en-US" dirty="0"/>
        </a:p>
      </dgm:t>
    </dgm:pt>
    <dgm:pt modelId="{FAA77A91-B74D-4252-B9EF-2A95652A9832}" type="parTrans" cxnId="{5509E99F-F3F1-4AEB-9D60-DBB53A12DB87}">
      <dgm:prSet/>
      <dgm:spPr/>
      <dgm:t>
        <a:bodyPr/>
        <a:lstStyle/>
        <a:p>
          <a:endParaRPr lang="en-US"/>
        </a:p>
      </dgm:t>
    </dgm:pt>
    <dgm:pt modelId="{B65C02BC-A1AF-4502-B719-C905C26BE85B}" type="sibTrans" cxnId="{5509E99F-F3F1-4AEB-9D60-DBB53A12DB87}">
      <dgm:prSet/>
      <dgm:spPr/>
      <dgm:t>
        <a:bodyPr/>
        <a:lstStyle/>
        <a:p>
          <a:endParaRPr lang="en-US"/>
        </a:p>
      </dgm:t>
    </dgm:pt>
    <dgm:pt modelId="{DD62C3F4-F9B6-4B75-8065-779A76CA86AD}" type="pres">
      <dgm:prSet presAssocID="{D7CEF795-FC6F-4457-9D37-66CB5EF4D9E7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2A8EB2CC-385F-4F3A-8F4D-18A4366A4141}" type="pres">
      <dgm:prSet presAssocID="{50F75AC4-AB53-4824-AF37-5C740FC26FE4}" presName="parentLin" presStyleCnt="0"/>
      <dgm:spPr/>
    </dgm:pt>
    <dgm:pt modelId="{007003D1-6E68-405E-94BC-C5FFBF0A3797}" type="pres">
      <dgm:prSet presAssocID="{50F75AC4-AB53-4824-AF37-5C740FC26FE4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C63ADAEB-78D1-46FA-8B5A-68242DDECA3F}" type="pres">
      <dgm:prSet presAssocID="{50F75AC4-AB53-4824-AF37-5C740FC26FE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3E4AAA-784B-4F40-B714-D3E6939E97D1}" type="pres">
      <dgm:prSet presAssocID="{50F75AC4-AB53-4824-AF37-5C740FC26FE4}" presName="negativeSpace" presStyleCnt="0"/>
      <dgm:spPr/>
    </dgm:pt>
    <dgm:pt modelId="{DBA8C427-B661-4DC4-A47A-12AA8705B4C1}" type="pres">
      <dgm:prSet presAssocID="{50F75AC4-AB53-4824-AF37-5C740FC26FE4}" presName="childText" presStyleLbl="conFgAcc1" presStyleIdx="0" presStyleCnt="3" custLinFactY="-25213" custLinFactNeighborX="3636" custLinFactNeighborY="-100000">
        <dgm:presLayoutVars>
          <dgm:bulletEnabled val="1"/>
        </dgm:presLayoutVars>
      </dgm:prSet>
      <dgm:spPr/>
    </dgm:pt>
    <dgm:pt modelId="{9E14D4E6-68FA-40DC-862D-B9BC8225DD3B}" type="pres">
      <dgm:prSet presAssocID="{6E729D74-876A-46B2-AA64-275EE30E9580}" presName="spaceBetweenRectangles" presStyleCnt="0"/>
      <dgm:spPr/>
    </dgm:pt>
    <dgm:pt modelId="{73CB689A-1AD9-4FC9-B0E3-E9970497650F}" type="pres">
      <dgm:prSet presAssocID="{A375ACE3-A903-4D52-8F2F-D25F435691D7}" presName="parentLin" presStyleCnt="0"/>
      <dgm:spPr/>
    </dgm:pt>
    <dgm:pt modelId="{D557DC28-95AF-4852-8B12-E981D304E380}" type="pres">
      <dgm:prSet presAssocID="{A375ACE3-A903-4D52-8F2F-D25F435691D7}" presName="parentLeftMargin" presStyleLbl="node1" presStyleIdx="0" presStyleCnt="3"/>
      <dgm:spPr/>
      <dgm:t>
        <a:bodyPr/>
        <a:lstStyle/>
        <a:p>
          <a:endParaRPr lang="en-US"/>
        </a:p>
      </dgm:t>
    </dgm:pt>
    <dgm:pt modelId="{452780C2-00E0-41E8-8B21-12D81E24486E}" type="pres">
      <dgm:prSet presAssocID="{A375ACE3-A903-4D52-8F2F-D25F435691D7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82CA3D0-4D1F-4C34-8C03-AAE88F27881D}" type="pres">
      <dgm:prSet presAssocID="{A375ACE3-A903-4D52-8F2F-D25F435691D7}" presName="negativeSpace" presStyleCnt="0"/>
      <dgm:spPr/>
    </dgm:pt>
    <dgm:pt modelId="{66D481E2-9ED2-4F87-8701-8ACDD88B2907}" type="pres">
      <dgm:prSet presAssocID="{A375ACE3-A903-4D52-8F2F-D25F435691D7}" presName="childText" presStyleLbl="conFgAcc1" presStyleIdx="1" presStyleCnt="3">
        <dgm:presLayoutVars>
          <dgm:bulletEnabled val="1"/>
        </dgm:presLayoutVars>
      </dgm:prSet>
      <dgm:spPr/>
    </dgm:pt>
    <dgm:pt modelId="{1A092A55-9542-4838-95B2-AF1ADF760F7B}" type="pres">
      <dgm:prSet presAssocID="{33F90B87-9DAD-4CB3-B162-6C5E217CE8FE}" presName="spaceBetweenRectangles" presStyleCnt="0"/>
      <dgm:spPr/>
    </dgm:pt>
    <dgm:pt modelId="{E86F2E0E-0570-4F18-A8DE-9A5A3FFDAB7E}" type="pres">
      <dgm:prSet presAssocID="{626D34B9-9A57-4D76-8C62-67405CDE2D82}" presName="parentLin" presStyleCnt="0"/>
      <dgm:spPr/>
    </dgm:pt>
    <dgm:pt modelId="{BB918A82-C0EC-4F8E-AF97-D1A7FF0426EB}" type="pres">
      <dgm:prSet presAssocID="{626D34B9-9A57-4D76-8C62-67405CDE2D82}" presName="parentLeftMargin" presStyleLbl="node1" presStyleIdx="1" presStyleCnt="3"/>
      <dgm:spPr/>
      <dgm:t>
        <a:bodyPr/>
        <a:lstStyle/>
        <a:p>
          <a:endParaRPr lang="en-US"/>
        </a:p>
      </dgm:t>
    </dgm:pt>
    <dgm:pt modelId="{1F735615-7D3E-4837-BB55-C8E072FA6D26}" type="pres">
      <dgm:prSet presAssocID="{626D34B9-9A57-4D76-8C62-67405CDE2D82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0860BAA-293B-4B13-960B-0787C60BE1AF}" type="pres">
      <dgm:prSet presAssocID="{626D34B9-9A57-4D76-8C62-67405CDE2D82}" presName="negativeSpace" presStyleCnt="0"/>
      <dgm:spPr/>
    </dgm:pt>
    <dgm:pt modelId="{79A234AC-21D9-4A44-A024-7B43FDB6C2AD}" type="pres">
      <dgm:prSet presAssocID="{626D34B9-9A57-4D76-8C62-67405CDE2D82}" presName="childText" presStyleLbl="conFgAcc1" presStyleIdx="2" presStyleCnt="3" custLinFactNeighborX="-2469" custLinFactNeighborY="2234">
        <dgm:presLayoutVars>
          <dgm:bulletEnabled val="1"/>
        </dgm:presLayoutVars>
      </dgm:prSet>
      <dgm:spPr/>
    </dgm:pt>
  </dgm:ptLst>
  <dgm:cxnLst>
    <dgm:cxn modelId="{1F556A54-1BD3-4DBB-B0EB-5AF0283254B3}" type="presOf" srcId="{626D34B9-9A57-4D76-8C62-67405CDE2D82}" destId="{1F735615-7D3E-4837-BB55-C8E072FA6D26}" srcOrd="1" destOrd="0" presId="urn:microsoft.com/office/officeart/2005/8/layout/list1"/>
    <dgm:cxn modelId="{6F1F850E-691A-4EFF-9172-BD356E5AF23F}" type="presOf" srcId="{50F75AC4-AB53-4824-AF37-5C740FC26FE4}" destId="{007003D1-6E68-405E-94BC-C5FFBF0A3797}" srcOrd="0" destOrd="0" presId="urn:microsoft.com/office/officeart/2005/8/layout/list1"/>
    <dgm:cxn modelId="{CCFEA466-D42D-40FD-BD8D-D44A1DD1DB7A}" type="presOf" srcId="{D7CEF795-FC6F-4457-9D37-66CB5EF4D9E7}" destId="{DD62C3F4-F9B6-4B75-8065-779A76CA86AD}" srcOrd="0" destOrd="0" presId="urn:microsoft.com/office/officeart/2005/8/layout/list1"/>
    <dgm:cxn modelId="{59B3881D-C228-4F95-97E6-13E95DD8D23B}" type="presOf" srcId="{A375ACE3-A903-4D52-8F2F-D25F435691D7}" destId="{452780C2-00E0-41E8-8B21-12D81E24486E}" srcOrd="1" destOrd="0" presId="urn:microsoft.com/office/officeart/2005/8/layout/list1"/>
    <dgm:cxn modelId="{8D4038BB-ED1F-4637-9FED-D645C04DF4AC}" type="presOf" srcId="{A375ACE3-A903-4D52-8F2F-D25F435691D7}" destId="{D557DC28-95AF-4852-8B12-E981D304E380}" srcOrd="0" destOrd="0" presId="urn:microsoft.com/office/officeart/2005/8/layout/list1"/>
    <dgm:cxn modelId="{D8C32308-2D6A-47B9-8D65-6450F66B62CC}" srcId="{D7CEF795-FC6F-4457-9D37-66CB5EF4D9E7}" destId="{50F75AC4-AB53-4824-AF37-5C740FC26FE4}" srcOrd="0" destOrd="0" parTransId="{AB853DA8-F9C2-49F7-AE4B-E6775C4C7A46}" sibTransId="{6E729D74-876A-46B2-AA64-275EE30E9580}"/>
    <dgm:cxn modelId="{7890910D-AF5A-4329-83BA-2517B1DA58F7}" type="presOf" srcId="{50F75AC4-AB53-4824-AF37-5C740FC26FE4}" destId="{C63ADAEB-78D1-46FA-8B5A-68242DDECA3F}" srcOrd="1" destOrd="0" presId="urn:microsoft.com/office/officeart/2005/8/layout/list1"/>
    <dgm:cxn modelId="{6546CB91-FAE4-42E3-8908-8BD3FFD6D59D}" srcId="{D7CEF795-FC6F-4457-9D37-66CB5EF4D9E7}" destId="{A375ACE3-A903-4D52-8F2F-D25F435691D7}" srcOrd="1" destOrd="0" parTransId="{83F9B9A3-490C-46D8-886D-0EB4CF040105}" sibTransId="{33F90B87-9DAD-4CB3-B162-6C5E217CE8FE}"/>
    <dgm:cxn modelId="{B16BAD48-1588-4DCD-8A7C-92A02CA36218}" type="presOf" srcId="{626D34B9-9A57-4D76-8C62-67405CDE2D82}" destId="{BB918A82-C0EC-4F8E-AF97-D1A7FF0426EB}" srcOrd="0" destOrd="0" presId="urn:microsoft.com/office/officeart/2005/8/layout/list1"/>
    <dgm:cxn modelId="{5509E99F-F3F1-4AEB-9D60-DBB53A12DB87}" srcId="{D7CEF795-FC6F-4457-9D37-66CB5EF4D9E7}" destId="{626D34B9-9A57-4D76-8C62-67405CDE2D82}" srcOrd="2" destOrd="0" parTransId="{FAA77A91-B74D-4252-B9EF-2A95652A9832}" sibTransId="{B65C02BC-A1AF-4502-B719-C905C26BE85B}"/>
    <dgm:cxn modelId="{2376761A-ABE2-4FB9-8AA9-F07C57F7F970}" type="presParOf" srcId="{DD62C3F4-F9B6-4B75-8065-779A76CA86AD}" destId="{2A8EB2CC-385F-4F3A-8F4D-18A4366A4141}" srcOrd="0" destOrd="0" presId="urn:microsoft.com/office/officeart/2005/8/layout/list1"/>
    <dgm:cxn modelId="{C5B1914E-D0B9-4566-B450-FAF2D1D29109}" type="presParOf" srcId="{2A8EB2CC-385F-4F3A-8F4D-18A4366A4141}" destId="{007003D1-6E68-405E-94BC-C5FFBF0A3797}" srcOrd="0" destOrd="0" presId="urn:microsoft.com/office/officeart/2005/8/layout/list1"/>
    <dgm:cxn modelId="{0CBCFE47-B1CD-426C-8BBE-F7940B4F0DB0}" type="presParOf" srcId="{2A8EB2CC-385F-4F3A-8F4D-18A4366A4141}" destId="{C63ADAEB-78D1-46FA-8B5A-68242DDECA3F}" srcOrd="1" destOrd="0" presId="urn:microsoft.com/office/officeart/2005/8/layout/list1"/>
    <dgm:cxn modelId="{3D4426DA-7813-4E88-9081-F6BD634C66B1}" type="presParOf" srcId="{DD62C3F4-F9B6-4B75-8065-779A76CA86AD}" destId="{5C3E4AAA-784B-4F40-B714-D3E6939E97D1}" srcOrd="1" destOrd="0" presId="urn:microsoft.com/office/officeart/2005/8/layout/list1"/>
    <dgm:cxn modelId="{D32D48D6-7562-4C23-9A46-2E5FDA3A5BFF}" type="presParOf" srcId="{DD62C3F4-F9B6-4B75-8065-779A76CA86AD}" destId="{DBA8C427-B661-4DC4-A47A-12AA8705B4C1}" srcOrd="2" destOrd="0" presId="urn:microsoft.com/office/officeart/2005/8/layout/list1"/>
    <dgm:cxn modelId="{442D572A-FB77-45C5-805C-43B4EB4283E4}" type="presParOf" srcId="{DD62C3F4-F9B6-4B75-8065-779A76CA86AD}" destId="{9E14D4E6-68FA-40DC-862D-B9BC8225DD3B}" srcOrd="3" destOrd="0" presId="urn:microsoft.com/office/officeart/2005/8/layout/list1"/>
    <dgm:cxn modelId="{D9A18FC3-A6A0-4D5C-B9CB-C2090BFACC4D}" type="presParOf" srcId="{DD62C3F4-F9B6-4B75-8065-779A76CA86AD}" destId="{73CB689A-1AD9-4FC9-B0E3-E9970497650F}" srcOrd="4" destOrd="0" presId="urn:microsoft.com/office/officeart/2005/8/layout/list1"/>
    <dgm:cxn modelId="{C4202B6F-34F0-4301-AB39-0F0D84303FDD}" type="presParOf" srcId="{73CB689A-1AD9-4FC9-B0E3-E9970497650F}" destId="{D557DC28-95AF-4852-8B12-E981D304E380}" srcOrd="0" destOrd="0" presId="urn:microsoft.com/office/officeart/2005/8/layout/list1"/>
    <dgm:cxn modelId="{8BB53B5D-52F0-4937-BCF4-8A513A3BA5E1}" type="presParOf" srcId="{73CB689A-1AD9-4FC9-B0E3-E9970497650F}" destId="{452780C2-00E0-41E8-8B21-12D81E24486E}" srcOrd="1" destOrd="0" presId="urn:microsoft.com/office/officeart/2005/8/layout/list1"/>
    <dgm:cxn modelId="{EAB87863-BEF9-4C2D-983D-5319607AE667}" type="presParOf" srcId="{DD62C3F4-F9B6-4B75-8065-779A76CA86AD}" destId="{482CA3D0-4D1F-4C34-8C03-AAE88F27881D}" srcOrd="5" destOrd="0" presId="urn:microsoft.com/office/officeart/2005/8/layout/list1"/>
    <dgm:cxn modelId="{34A3AF05-D01A-4F33-BCEB-0A3A81C4E422}" type="presParOf" srcId="{DD62C3F4-F9B6-4B75-8065-779A76CA86AD}" destId="{66D481E2-9ED2-4F87-8701-8ACDD88B2907}" srcOrd="6" destOrd="0" presId="urn:microsoft.com/office/officeart/2005/8/layout/list1"/>
    <dgm:cxn modelId="{FBE1B552-CBAB-4D71-9A2E-BEEF2134E057}" type="presParOf" srcId="{DD62C3F4-F9B6-4B75-8065-779A76CA86AD}" destId="{1A092A55-9542-4838-95B2-AF1ADF760F7B}" srcOrd="7" destOrd="0" presId="urn:microsoft.com/office/officeart/2005/8/layout/list1"/>
    <dgm:cxn modelId="{61809DD6-1953-46F9-B8FD-F256F2DE7951}" type="presParOf" srcId="{DD62C3F4-F9B6-4B75-8065-779A76CA86AD}" destId="{E86F2E0E-0570-4F18-A8DE-9A5A3FFDAB7E}" srcOrd="8" destOrd="0" presId="urn:microsoft.com/office/officeart/2005/8/layout/list1"/>
    <dgm:cxn modelId="{377C9077-1DE3-4BBE-B4E7-AAF079B22B8A}" type="presParOf" srcId="{E86F2E0E-0570-4F18-A8DE-9A5A3FFDAB7E}" destId="{BB918A82-C0EC-4F8E-AF97-D1A7FF0426EB}" srcOrd="0" destOrd="0" presId="urn:microsoft.com/office/officeart/2005/8/layout/list1"/>
    <dgm:cxn modelId="{B4F9D129-DD31-43AB-BD6D-844244072B81}" type="presParOf" srcId="{E86F2E0E-0570-4F18-A8DE-9A5A3FFDAB7E}" destId="{1F735615-7D3E-4837-BB55-C8E072FA6D26}" srcOrd="1" destOrd="0" presId="urn:microsoft.com/office/officeart/2005/8/layout/list1"/>
    <dgm:cxn modelId="{A0CF9986-7DDD-46DE-8401-4E8026E7510E}" type="presParOf" srcId="{DD62C3F4-F9B6-4B75-8065-779A76CA86AD}" destId="{30860BAA-293B-4B13-960B-0787C60BE1AF}" srcOrd="9" destOrd="0" presId="urn:microsoft.com/office/officeart/2005/8/layout/list1"/>
    <dgm:cxn modelId="{6AC30305-7FC6-43E4-87CF-D8CEF4B48A64}" type="presParOf" srcId="{DD62C3F4-F9B6-4B75-8065-779A76CA86AD}" destId="{79A234AC-21D9-4A44-A024-7B43FDB6C2AD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47F278F-BC95-46B6-898E-244FD46FD489}">
      <dsp:nvSpPr>
        <dsp:cNvPr id="0" name=""/>
        <dsp:cNvSpPr/>
      </dsp:nvSpPr>
      <dsp:spPr>
        <a:xfrm rot="10800000">
          <a:off x="888527" y="0"/>
          <a:ext cx="4216872" cy="1167486"/>
        </a:xfrm>
        <a:prstGeom prst="homePlate">
          <a:avLst/>
        </a:prstGeom>
        <a:solidFill>
          <a:srgbClr val="0083BE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4829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    </a:t>
          </a:r>
          <a:r>
            <a:rPr lang="en-US" sz="21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Provides Veterans more choices </a:t>
          </a:r>
        </a:p>
      </dsp:txBody>
      <dsp:txXfrm rot="10800000">
        <a:off x="1180398" y="0"/>
        <a:ext cx="3925001" cy="1167486"/>
      </dsp:txXfrm>
    </dsp:sp>
    <dsp:sp modelId="{A555D422-5674-4B59-8AC4-9D961711BD7B}">
      <dsp:nvSpPr>
        <dsp:cNvPr id="0" name=""/>
        <dsp:cNvSpPr/>
      </dsp:nvSpPr>
      <dsp:spPr>
        <a:xfrm>
          <a:off x="381000" y="4"/>
          <a:ext cx="1167486" cy="1167486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A12EBD-9009-4A29-B73B-0D0B783D5EAC}">
      <dsp:nvSpPr>
        <dsp:cNvPr id="0" name=""/>
        <dsp:cNvSpPr/>
      </dsp:nvSpPr>
      <dsp:spPr>
        <a:xfrm rot="10800000">
          <a:off x="888527" y="1517313"/>
          <a:ext cx="4216872" cy="1167486"/>
        </a:xfrm>
        <a:prstGeom prst="homePlate">
          <a:avLst/>
        </a:prstGeom>
        <a:solidFill>
          <a:srgbClr val="0083BE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4829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New</a:t>
          </a:r>
          <a:r>
            <a:rPr lang="en-US" sz="21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  </a:t>
          </a:r>
          <a:r>
            <a:rPr lang="en-US" sz="2100" b="1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P</a:t>
          </a:r>
          <a:r>
            <a:rPr lang="en-US" sz="21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roduct offering for lenders 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10800000">
        <a:off x="1180398" y="1517313"/>
        <a:ext cx="3925001" cy="1167486"/>
      </dsp:txXfrm>
    </dsp:sp>
    <dsp:sp modelId="{887D1955-639B-4977-987B-FD718FE8B443}">
      <dsp:nvSpPr>
        <dsp:cNvPr id="0" name=""/>
        <dsp:cNvSpPr/>
      </dsp:nvSpPr>
      <dsp:spPr>
        <a:xfrm>
          <a:off x="357837" y="1517313"/>
          <a:ext cx="1167486" cy="1167486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20B0BB-1727-4913-BA10-A43758ACFA93}">
      <dsp:nvSpPr>
        <dsp:cNvPr id="0" name=""/>
        <dsp:cNvSpPr/>
      </dsp:nvSpPr>
      <dsp:spPr>
        <a:xfrm rot="10800000">
          <a:off x="888527" y="3034622"/>
          <a:ext cx="4216872" cy="1167486"/>
        </a:xfrm>
        <a:prstGeom prst="homePlate">
          <a:avLst/>
        </a:prstGeom>
        <a:solidFill>
          <a:srgbClr val="0083BE">
            <a:hueOff val="0"/>
            <a:satOff val="0"/>
            <a:lumOff val="0"/>
            <a:alphaOff val="0"/>
          </a:srgbClr>
        </a:solid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14829" tIns="80010" rIns="149352" bIns="80010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    </a:t>
          </a:r>
          <a:r>
            <a:rPr lang="en-US" sz="2100" b="1" kern="1200" dirty="0" smtClean="0">
              <a:solidFill>
                <a:sysClr val="window" lastClr="FFFFFF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De-mystifies unclear guidance</a:t>
          </a:r>
        </a:p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1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 rot="10800000">
        <a:off x="1180398" y="3034622"/>
        <a:ext cx="3925001" cy="1167486"/>
      </dsp:txXfrm>
    </dsp:sp>
    <dsp:sp modelId="{52AB5A79-34BD-455E-B24D-3DC7F715C724}">
      <dsp:nvSpPr>
        <dsp:cNvPr id="0" name=""/>
        <dsp:cNvSpPr/>
      </dsp:nvSpPr>
      <dsp:spPr>
        <a:xfrm>
          <a:off x="357837" y="3033303"/>
          <a:ext cx="1167486" cy="1167486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25000" b="-25000"/>
          </a:stretch>
        </a:blipFill>
        <a:ln w="25400" cap="flat" cmpd="sng" algn="ctr">
          <a:solidFill>
            <a:sysClr val="window" lastClr="FFFFFF">
              <a:hueOff val="0"/>
              <a:satOff val="0"/>
              <a:lumOff val="0"/>
              <a:alphaOff val="0"/>
            </a:sys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EDFD31-0ED4-4231-BCC1-940CFDC38D71}">
      <dsp:nvSpPr>
        <dsp:cNvPr id="0" name=""/>
        <dsp:cNvSpPr/>
      </dsp:nvSpPr>
      <dsp:spPr>
        <a:xfrm>
          <a:off x="4038594" y="990601"/>
          <a:ext cx="1601834" cy="3047593"/>
        </a:xfrm>
        <a:prstGeom prst="rect">
          <a:avLst/>
        </a:prstGeom>
        <a:solidFill>
          <a:schemeClr val="accent2">
            <a:shade val="80000"/>
            <a:hueOff val="682522"/>
            <a:satOff val="-57388"/>
            <a:lumOff val="371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137160" bIns="3048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>
              <a:latin typeface="Arial" panose="020B0604020202020204" pitchFamily="34" charset="0"/>
              <a:cs typeface="Arial" panose="020B0604020202020204" pitchFamily="34" charset="0"/>
            </a:rPr>
            <a:t>Easy to use</a:t>
          </a:r>
          <a:endParaRPr lang="en-US" sz="2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6200000">
        <a:off x="4021220" y="2153779"/>
        <a:ext cx="2742834" cy="416476"/>
      </dsp:txXfrm>
    </dsp:sp>
    <dsp:sp modelId="{F8E11BEC-5BBC-4BC8-A183-E8AFE6157D9B}">
      <dsp:nvSpPr>
        <dsp:cNvPr id="0" name=""/>
        <dsp:cNvSpPr/>
      </dsp:nvSpPr>
      <dsp:spPr>
        <a:xfrm>
          <a:off x="2249660" y="484428"/>
          <a:ext cx="1601834" cy="3560064"/>
        </a:xfrm>
        <a:prstGeom prst="rect">
          <a:avLst/>
        </a:prstGeom>
        <a:solidFill>
          <a:schemeClr val="accent2">
            <a:shade val="80000"/>
            <a:hueOff val="341261"/>
            <a:satOff val="-28694"/>
            <a:lumOff val="185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137160" bIns="30480" numCol="1" spcCol="1270" anchor="ctr" anchorCtr="0">
          <a:noAutofit/>
        </a:bodyPr>
        <a:lstStyle/>
        <a:p>
          <a:pPr lvl="0" algn="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nderstandable</a:t>
          </a:r>
          <a:endParaRPr lang="en-US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6200000">
        <a:off x="2001674" y="1878219"/>
        <a:ext cx="3204057" cy="416476"/>
      </dsp:txXfrm>
    </dsp:sp>
    <dsp:sp modelId="{C898C78E-082D-4E2E-BF3C-43E7B6F914DC}">
      <dsp:nvSpPr>
        <dsp:cNvPr id="0" name=""/>
        <dsp:cNvSpPr/>
      </dsp:nvSpPr>
      <dsp:spPr>
        <a:xfrm>
          <a:off x="499445" y="0"/>
          <a:ext cx="1601834" cy="4044492"/>
        </a:xfrm>
        <a:prstGeom prst="rect">
          <a:avLst/>
        </a:prstGeom>
        <a:solidFill>
          <a:schemeClr val="accent2">
            <a:shade val="8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13716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Lock in the value</a:t>
          </a:r>
          <a:endParaRPr lang="en-US" sz="2400" b="1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 rot="16200000">
        <a:off x="33465" y="1611783"/>
        <a:ext cx="3640043" cy="416476"/>
      </dsp:txXfrm>
    </dsp:sp>
    <dsp:sp modelId="{91256D71-1586-454F-BBBF-FE480D2FDC34}">
      <dsp:nvSpPr>
        <dsp:cNvPr id="0" name=""/>
        <dsp:cNvSpPr/>
      </dsp:nvSpPr>
      <dsp:spPr>
        <a:xfrm>
          <a:off x="499445" y="0"/>
          <a:ext cx="1137302" cy="406400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100" kern="1200" dirty="0"/>
        </a:p>
      </dsp:txBody>
      <dsp:txXfrm>
        <a:off x="499445" y="0"/>
        <a:ext cx="1137302" cy="4064000"/>
      </dsp:txXfrm>
    </dsp:sp>
    <dsp:sp modelId="{CCCEF70F-6652-4DC6-92F2-4754FF663556}">
      <dsp:nvSpPr>
        <dsp:cNvPr id="0" name=""/>
        <dsp:cNvSpPr/>
      </dsp:nvSpPr>
      <dsp:spPr>
        <a:xfrm>
          <a:off x="2249660" y="484428"/>
          <a:ext cx="1137302" cy="357957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100" kern="1200" dirty="0"/>
        </a:p>
      </dsp:txBody>
      <dsp:txXfrm>
        <a:off x="2249660" y="484428"/>
        <a:ext cx="1137302" cy="3579571"/>
      </dsp:txXfrm>
    </dsp:sp>
    <dsp:sp modelId="{FE3FACE7-9BD8-4E1F-BB9F-5B92F5376E80}">
      <dsp:nvSpPr>
        <dsp:cNvPr id="0" name=""/>
        <dsp:cNvSpPr/>
      </dsp:nvSpPr>
      <dsp:spPr>
        <a:xfrm>
          <a:off x="3994720" y="998524"/>
          <a:ext cx="1137302" cy="306547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8110" tIns="118110" rIns="118110" bIns="118110" numCol="1" spcCol="1270" anchor="t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100" kern="1200" dirty="0"/>
        </a:p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100" kern="1200" dirty="0"/>
        </a:p>
      </dsp:txBody>
      <dsp:txXfrm>
        <a:off x="3994720" y="998524"/>
        <a:ext cx="1137302" cy="306547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025DB13-517B-41C9-ACB1-5551AC11DFA0}">
      <dsp:nvSpPr>
        <dsp:cNvPr id="0" name=""/>
        <dsp:cNvSpPr/>
      </dsp:nvSpPr>
      <dsp:spPr>
        <a:xfrm rot="21300000">
          <a:off x="18706" y="1685100"/>
          <a:ext cx="6058586" cy="693799"/>
        </a:xfrm>
        <a:prstGeom prst="mathMinus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DC57816-B857-4BDA-B22E-B27CD7998CCF}">
      <dsp:nvSpPr>
        <dsp:cNvPr id="0" name=""/>
        <dsp:cNvSpPr/>
      </dsp:nvSpPr>
      <dsp:spPr>
        <a:xfrm>
          <a:off x="731520" y="203200"/>
          <a:ext cx="1828800" cy="1625600"/>
        </a:xfrm>
        <a:prstGeom prst="downArrow">
          <a:avLst/>
        </a:prstGeom>
        <a:solidFill>
          <a:schemeClr val="accent2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0B3D19-314E-46D0-AAD7-C5EE29792F2F}">
      <dsp:nvSpPr>
        <dsp:cNvPr id="0" name=""/>
        <dsp:cNvSpPr/>
      </dsp:nvSpPr>
      <dsp:spPr>
        <a:xfrm>
          <a:off x="3230880" y="0"/>
          <a:ext cx="1950720" cy="1706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256" tIns="270256" rIns="270256" bIns="270256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1-Time Close</a:t>
          </a:r>
          <a:endParaRPr lang="en-US" sz="3800" kern="1200" dirty="0"/>
        </a:p>
      </dsp:txBody>
      <dsp:txXfrm>
        <a:off x="3230880" y="0"/>
        <a:ext cx="1950720" cy="1706880"/>
      </dsp:txXfrm>
    </dsp:sp>
    <dsp:sp modelId="{92A47BBE-43BA-414F-B25C-07345296BE18}">
      <dsp:nvSpPr>
        <dsp:cNvPr id="0" name=""/>
        <dsp:cNvSpPr/>
      </dsp:nvSpPr>
      <dsp:spPr>
        <a:xfrm>
          <a:off x="3535680" y="2235200"/>
          <a:ext cx="1828800" cy="1625600"/>
        </a:xfrm>
        <a:prstGeom prst="upArrow">
          <a:avLst/>
        </a:prstGeom>
        <a:solidFill>
          <a:schemeClr val="accent2">
            <a:alpha val="90000"/>
            <a:hueOff val="0"/>
            <a:satOff val="0"/>
            <a:lumOff val="0"/>
            <a:alphaOff val="-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19004B-87A4-489B-9F4A-86195BFACBFF}">
      <dsp:nvSpPr>
        <dsp:cNvPr id="0" name=""/>
        <dsp:cNvSpPr/>
      </dsp:nvSpPr>
      <dsp:spPr>
        <a:xfrm>
          <a:off x="914400" y="2357120"/>
          <a:ext cx="1950720" cy="170688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0256" tIns="270256" rIns="270256" bIns="270256" numCol="1" spcCol="1270" anchor="ctr" anchorCtr="0">
          <a:noAutofit/>
        </a:bodyPr>
        <a:lstStyle/>
        <a:p>
          <a:pPr lvl="0" algn="ctr" defTabSz="1689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800" kern="1200" dirty="0" smtClean="0"/>
            <a:t>2-Time Close</a:t>
          </a:r>
          <a:endParaRPr lang="en-US" sz="3800" kern="1200" dirty="0"/>
        </a:p>
      </dsp:txBody>
      <dsp:txXfrm>
        <a:off x="914400" y="2357120"/>
        <a:ext cx="1950720" cy="170688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A8C427-B661-4DC4-A47A-12AA8705B4C1}">
      <dsp:nvSpPr>
        <dsp:cNvPr id="0" name=""/>
        <dsp:cNvSpPr/>
      </dsp:nvSpPr>
      <dsp:spPr>
        <a:xfrm>
          <a:off x="0" y="443628"/>
          <a:ext cx="2895600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3ADAEB-78D1-46FA-8B5A-68242DDECA3F}">
      <dsp:nvSpPr>
        <dsp:cNvPr id="0" name=""/>
        <dsp:cNvSpPr/>
      </dsp:nvSpPr>
      <dsp:spPr>
        <a:xfrm>
          <a:off x="144780" y="413565"/>
          <a:ext cx="2026920" cy="2952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613" tIns="0" rIns="76613" bIns="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How do I order appraisal?</a:t>
          </a:r>
          <a:endParaRPr lang="en-US" sz="1000" kern="1200" dirty="0"/>
        </a:p>
      </dsp:txBody>
      <dsp:txXfrm>
        <a:off x="159190" y="427975"/>
        <a:ext cx="1998100" cy="266380"/>
      </dsp:txXfrm>
    </dsp:sp>
    <dsp:sp modelId="{66D481E2-9ED2-4F87-8701-8ACDD88B2907}">
      <dsp:nvSpPr>
        <dsp:cNvPr id="0" name=""/>
        <dsp:cNvSpPr/>
      </dsp:nvSpPr>
      <dsp:spPr>
        <a:xfrm>
          <a:off x="0" y="1014765"/>
          <a:ext cx="2895600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2780C2-00E0-41E8-8B21-12D81E24486E}">
      <dsp:nvSpPr>
        <dsp:cNvPr id="0" name=""/>
        <dsp:cNvSpPr/>
      </dsp:nvSpPr>
      <dsp:spPr>
        <a:xfrm>
          <a:off x="144780" y="867165"/>
          <a:ext cx="2026920" cy="2952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613" tIns="0" rIns="76613" bIns="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I can’t guaranty the loan…</a:t>
          </a:r>
          <a:endParaRPr lang="en-US" sz="1000" kern="1200" dirty="0"/>
        </a:p>
      </dsp:txBody>
      <dsp:txXfrm>
        <a:off x="159190" y="881575"/>
        <a:ext cx="1998100" cy="266380"/>
      </dsp:txXfrm>
    </dsp:sp>
    <dsp:sp modelId="{79A234AC-21D9-4A44-A024-7B43FDB6C2AD}">
      <dsp:nvSpPr>
        <dsp:cNvPr id="0" name=""/>
        <dsp:cNvSpPr/>
      </dsp:nvSpPr>
      <dsp:spPr>
        <a:xfrm>
          <a:off x="0" y="1471662"/>
          <a:ext cx="2895600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735615-7D3E-4837-BB55-C8E072FA6D26}">
      <dsp:nvSpPr>
        <dsp:cNvPr id="0" name=""/>
        <dsp:cNvSpPr/>
      </dsp:nvSpPr>
      <dsp:spPr>
        <a:xfrm>
          <a:off x="144780" y="1320765"/>
          <a:ext cx="2026920" cy="2952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613" tIns="0" rIns="76613" bIns="0" numCol="1" spcCol="1270" anchor="ctr" anchorCtr="0">
          <a:noAutofit/>
        </a:bodyPr>
        <a:lstStyle/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000" kern="1200" dirty="0" smtClean="0"/>
            <a:t>Different office, different answer</a:t>
          </a:r>
          <a:endParaRPr lang="en-US" sz="1000" kern="1200" dirty="0"/>
        </a:p>
      </dsp:txBody>
      <dsp:txXfrm>
        <a:off x="159190" y="1335175"/>
        <a:ext cx="1998100" cy="26638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A8C427-B661-4DC4-A47A-12AA8705B4C1}">
      <dsp:nvSpPr>
        <dsp:cNvPr id="0" name=""/>
        <dsp:cNvSpPr/>
      </dsp:nvSpPr>
      <dsp:spPr>
        <a:xfrm>
          <a:off x="0" y="568296"/>
          <a:ext cx="2895600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63ADAEB-78D1-46FA-8B5A-68242DDECA3F}">
      <dsp:nvSpPr>
        <dsp:cNvPr id="0" name=""/>
        <dsp:cNvSpPr/>
      </dsp:nvSpPr>
      <dsp:spPr>
        <a:xfrm>
          <a:off x="144780" y="544245"/>
          <a:ext cx="2026920" cy="2361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613" tIns="0" rIns="76613" bIns="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Does lot ownership  reduce the funding fee?</a:t>
          </a:r>
          <a:endParaRPr lang="en-US" sz="800" kern="1200" dirty="0"/>
        </a:p>
      </dsp:txBody>
      <dsp:txXfrm>
        <a:off x="156308" y="555773"/>
        <a:ext cx="2003864" cy="213104"/>
      </dsp:txXfrm>
    </dsp:sp>
    <dsp:sp modelId="{66D481E2-9ED2-4F87-8701-8ACDD88B2907}">
      <dsp:nvSpPr>
        <dsp:cNvPr id="0" name=""/>
        <dsp:cNvSpPr/>
      </dsp:nvSpPr>
      <dsp:spPr>
        <a:xfrm>
          <a:off x="0" y="1025205"/>
          <a:ext cx="2895600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2780C2-00E0-41E8-8B21-12D81E24486E}">
      <dsp:nvSpPr>
        <dsp:cNvPr id="0" name=""/>
        <dsp:cNvSpPr/>
      </dsp:nvSpPr>
      <dsp:spPr>
        <a:xfrm>
          <a:off x="144780" y="907125"/>
          <a:ext cx="2026920" cy="2361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613" tIns="0" rIns="76613" bIns="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How does lot  ownership effect  cash-back?</a:t>
          </a:r>
          <a:endParaRPr lang="en-US" sz="800" kern="1200" dirty="0"/>
        </a:p>
      </dsp:txBody>
      <dsp:txXfrm>
        <a:off x="156308" y="918653"/>
        <a:ext cx="2003864" cy="213104"/>
      </dsp:txXfrm>
    </dsp:sp>
    <dsp:sp modelId="{79A234AC-21D9-4A44-A024-7B43FDB6C2AD}">
      <dsp:nvSpPr>
        <dsp:cNvPr id="0" name=""/>
        <dsp:cNvSpPr/>
      </dsp:nvSpPr>
      <dsp:spPr>
        <a:xfrm>
          <a:off x="0" y="1390723"/>
          <a:ext cx="2895600" cy="201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735615-7D3E-4837-BB55-C8E072FA6D26}">
      <dsp:nvSpPr>
        <dsp:cNvPr id="0" name=""/>
        <dsp:cNvSpPr/>
      </dsp:nvSpPr>
      <dsp:spPr>
        <a:xfrm>
          <a:off x="144780" y="1270005"/>
          <a:ext cx="2026920" cy="2361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613" tIns="0" rIns="76613" bIns="0" numCol="1" spcCol="1270" anchor="ctr" anchorCtr="0">
          <a:noAutofit/>
        </a:bodyPr>
        <a:lstStyle/>
        <a:p>
          <a:pPr lvl="0" algn="l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800" kern="1200" dirty="0" smtClean="0"/>
            <a:t>What if  repairs/work still needs to be done?</a:t>
          </a:r>
          <a:endParaRPr lang="en-US" sz="800" kern="1200" dirty="0"/>
        </a:p>
      </dsp:txBody>
      <dsp:txXfrm>
        <a:off x="156308" y="1281533"/>
        <a:ext cx="2003864" cy="21310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arrow3">
  <dgm:title val=""/>
  <dgm:desc val=""/>
  <dgm:catLst>
    <dgm:cat type="relationship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4" srcId="0" destId="1" srcOrd="0" destOrd="0"/>
        <dgm:cxn modelId="5" srcId="0" destId="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clrData>
  <dgm:layoutNode name="compositeShape">
    <dgm:varLst>
      <dgm:chMax val="2"/>
      <dgm:dir/>
      <dgm:resizeHandles val="exact"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hoose name="Name2">
          <dgm:if name="Name3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l" for="ch" forName="downArrow" refType="w" fact="0.1"/>
              <dgm:constr type="t" for="ch" forName="downArrow" refType="h" fact="0.05"/>
              <dgm:constr type="lOff" for="ch" forName="downArrow" refType="w" fact="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r" for="ch" forName="downArrowText" refType="w" fact="0.8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r" for="ch" forName="upArrow" refType="w" fact="0.9"/>
              <dgm:constr type="rOff" for="ch" forName="upArrow" refType="w" fact="-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l" for="ch" forName="upArrowText" refType="w" fact="0.15"/>
              <dgm:constr type="primFontSz" for="ch" ptType="node" op="equ" val="65"/>
            </dgm:constrLst>
          </dgm:if>
          <dgm:else name="Name4">
            <dgm:constrLst>
              <dgm:constr type="w" for="ch" forName="downArrow" refType="w" fact="0.4"/>
              <dgm:constr type="h" for="ch" forName="downArrow" refType="h" fact="0.8"/>
              <dgm:constr type="l" for="ch" forName="downArrow" refType="w" fact="0.02"/>
              <dgm:constr type="t" for="ch" forName="downArrow" refType="h" fact="0.05"/>
              <dgm:constr type="lOff" for="ch" forName="downArrow" refType="w" fact="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r" for="ch" forName="downArrowText" refType="w"/>
              <dgm:constr type="primFontSz" for="ch" ptType="node" op="equ" val="65"/>
            </dgm:constrLst>
          </dgm:else>
        </dgm:choose>
      </dgm:if>
      <dgm:else name="Name5">
        <dgm:choose name="Name6">
          <dgm:if name="Name7" axis="ch" ptType="node" func="cnt" op="gte" val="2">
            <dgm:constrLst>
              <dgm:constr type="w" for="ch" forName="divider" refType="w"/>
              <dgm:constr type="h" for="ch" forName="divider" refType="w" fact="0.2"/>
              <dgm:constr type="h" for="ch" forName="divider" refType="h" op="gte" fact="0.2"/>
              <dgm:constr type="h" for="ch" forName="divider" refType="h" op="lte" fact="0.4"/>
              <dgm:constr type="ctrX" for="ch" forName="divider" refType="w" fact="0.5"/>
              <dgm:constr type="ctrY" for="ch" forName="divider" refType="h" fact="0.5"/>
              <dgm:constr type="w" for="ch" forName="downArrow" refType="w" fact="0.3"/>
              <dgm:constr type="h" for="ch" forName="downArrow" refType="h" fact="0.4"/>
              <dgm:constr type="r" for="ch" forName="downArrow" refType="w" fact="0.9"/>
              <dgm:constr type="t" for="ch" forName="downArrow" refType="h" fact="0.05"/>
              <dgm:constr type="rOff" for="ch" forName="downArrow" refType="w" fact="-0.02"/>
              <dgm:constr type="w" for="ch" forName="downArrowText" refType="w" fact="0.32"/>
              <dgm:constr type="h" for="ch" forName="downArrowText" refType="h" fact="0.42"/>
              <dgm:constr type="t" for="ch" forName="downArrowText"/>
              <dgm:constr type="l" for="ch" forName="downArrowText" refType="w" fact="0.15"/>
              <dgm:constr type="w" for="ch" forName="upArrow" refType="w" fact="0.3"/>
              <dgm:constr type="h" for="ch" forName="upArrow" refType="h" fact="0.4"/>
              <dgm:constr type="b" for="ch" forName="upArrow" refType="h" fact="0.95"/>
              <dgm:constr type="l" for="ch" forName="upArrow" refType="w" fact="0.1"/>
              <dgm:constr type="lOff" for="ch" forName="upArrow" refType="w" fact="0.02"/>
              <dgm:constr type="w" for="ch" forName="upArrowText" refType="w" fact="0.32"/>
              <dgm:constr type="h" for="ch" forName="upArrowText" refType="h" fact="0.42"/>
              <dgm:constr type="b" for="ch" forName="upArrowText" refType="h"/>
              <dgm:constr type="r" for="ch" forName="upArrowText" refType="w" fact="0.85"/>
              <dgm:constr type="primFontSz" for="ch" ptType="node" op="equ" val="65"/>
            </dgm:constrLst>
          </dgm:if>
          <dgm:else name="Name8">
            <dgm:constrLst>
              <dgm:constr type="w" for="ch" forName="downArrow" refType="w" fact="0.4"/>
              <dgm:constr type="h" for="ch" forName="downArrow" refType="h" fact="0.8"/>
              <dgm:constr type="r" for="ch" forName="downArrow" refType="w" fact="0.98"/>
              <dgm:constr type="t" for="ch" forName="downArrow" refType="h" fact="0.05"/>
              <dgm:constr type="rOff" for="ch" forName="downArrow" refType="w" fact="-0.02"/>
              <dgm:constr type="w" for="ch" forName="downArrowText" refType="w" fact="0.5"/>
              <dgm:constr type="h" for="ch" forName="downArrowText" refType="h"/>
              <dgm:constr type="t" for="ch" forName="downArrowText"/>
              <dgm:constr type="l" for="ch" forName="downArrowText"/>
              <dgm:constr type="primFontSz" for="ch" ptType="node" op="equ" val="65"/>
            </dgm:constrLst>
          </dgm:else>
        </dgm:choose>
      </dgm:else>
    </dgm:choose>
    <dgm:ruleLst/>
    <dgm:choose name="Name9">
      <dgm:if name="Name10" axis="ch" ptType="node" func="cnt" op="gte" val="2">
        <dgm:layoutNode name="divider" styleLbl="fgShp">
          <dgm:alg type="sp"/>
          <dgm:choose name="Name11">
            <dgm:if name="Name12" func="var" arg="dir" op="equ" val="norm">
              <dgm:shape xmlns:r="http://schemas.openxmlformats.org/officeDocument/2006/relationships" rot="-5" type="mathMinus" r:blip="">
                <dgm:adjLst/>
              </dgm:shape>
            </dgm:if>
            <dgm:else name="Name13">
              <dgm:shape xmlns:r="http://schemas.openxmlformats.org/officeDocument/2006/relationships" rot="5" type="mathMinus" r:blip="">
                <dgm:adjLst/>
              </dgm:shape>
            </dgm:else>
          </dgm:choose>
          <dgm:presOf/>
          <dgm:constrLst/>
          <dgm:ruleLst/>
        </dgm:layoutNode>
      </dgm:if>
      <dgm:else name="Name14"/>
    </dgm:choose>
    <dgm:forEach name="Name15" axis="ch" ptType="node" cnt="1">
      <dgm:layoutNode name="downArrow" styleLbl="node1">
        <dgm:alg type="sp"/>
        <dgm:shape xmlns:r="http://schemas.openxmlformats.org/officeDocument/2006/relationships" type="downArrow" r:blip="">
          <dgm:adjLst/>
        </dgm:shape>
        <dgm:presOf/>
        <dgm:constrLst/>
        <dgm:ruleLst/>
      </dgm:layoutNode>
      <dgm:layoutNode name="down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  <dgm:forEach name="Name16" axis="ch" ptType="node" st="2" cnt="1">
      <dgm:layoutNode name="upArrow" styleLbl="node1">
        <dgm:alg type="sp"/>
        <dgm:shape xmlns:r="http://schemas.openxmlformats.org/officeDocument/2006/relationships" type="upArrow" r:blip="">
          <dgm:adjLst/>
        </dgm:shape>
        <dgm:presOf/>
        <dgm:constrLst/>
        <dgm:ruleLst/>
      </dgm:layoutNode>
      <dgm:layoutNode name="upArrowText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/>
        <dgm:ruleLst>
          <dgm:rule type="primFontSz" val="5" fact="NaN" max="NaN"/>
        </dgm:ruleLst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04/0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04/0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78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7424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Or </a:t>
            </a:r>
            <a:r>
              <a:rPr lang="en-US" dirty="0"/>
              <a:t>Lender verifies income in accordance with VA’s UW requirem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6F7D25-770E-4F77-8331-8C84F68246B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03061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6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46924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487834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351790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78372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23905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689770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4656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660838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6222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8981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5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5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633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60106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558965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7114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54326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807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454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02767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295454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558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558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8140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5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5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Pre-Decisional Deliberative Document - Internal VA Use Only</a:t>
            </a:r>
            <a:endParaRPr lang="it-IT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/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April 5, 2018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 smtClean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5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5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5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5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04/05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0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ub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XX/XX/XXXX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endParaRPr lang="en-US" sz="20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add Strapline</a:t>
            </a:r>
            <a:endParaRPr lang="en-US" dirty="0"/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2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7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2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 smtClean="0">
                <a:solidFill>
                  <a:srgbClr val="000000"/>
                </a:solidFill>
              </a:rPr>
              <a:t>Working Draft, Pre-Decisional, Deliberative Documet - Internal VA Use Only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6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04/05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04/05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7153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058294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763154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16186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373020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86891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804502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62060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70945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53162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0215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theme" Target="../theme/theme19.xml"/><Relationship Id="rId3" Type="http://schemas.openxmlformats.org/officeDocument/2006/relationships/slideLayout" Target="../slideLayouts/slideLayout105.xml"/><Relationship Id="rId7" Type="http://schemas.openxmlformats.org/officeDocument/2006/relationships/slideLayout" Target="../slideLayouts/slideLayout109.xml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5" Type="http://schemas.openxmlformats.org/officeDocument/2006/relationships/slideLayout" Target="../slideLayouts/slideLayout107.xml"/><Relationship Id="rId4" Type="http://schemas.openxmlformats.org/officeDocument/2006/relationships/slideLayout" Target="../slideLayouts/slideLayout106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theme" Target="../theme/theme20.xml"/><Relationship Id="rId3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13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theme" Target="../theme/theme21.xml"/><Relationship Id="rId3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8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20.xml"/><Relationship Id="rId9" Type="http://schemas.openxmlformats.org/officeDocument/2006/relationships/image" Target="../media/image1.pn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2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5" Type="http://schemas.openxmlformats.org/officeDocument/2006/relationships/slideLayout" Target="../slideLayouts/slideLayout128.xml"/><Relationship Id="rId4" Type="http://schemas.openxmlformats.org/officeDocument/2006/relationships/slideLayout" Target="../slideLayouts/slideLayout127.xml"/><Relationship Id="rId9" Type="http://schemas.openxmlformats.org/officeDocument/2006/relationships/image" Target="../media/image1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32.xml"/><Relationship Id="rId1" Type="http://schemas.openxmlformats.org/officeDocument/2006/relationships/slideLayout" Target="../slideLayouts/slideLayout131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35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33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4.xml"/><Relationship Id="rId9" Type="http://schemas.openxmlformats.org/officeDocument/2006/relationships/image" Target="../media/image1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5" Type="http://schemas.openxmlformats.org/officeDocument/2006/relationships/slideLayout" Target="../slideLayouts/slideLayout140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39.xml"/><Relationship Id="rId9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6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6" Type="http://schemas.openxmlformats.org/officeDocument/2006/relationships/theme" Target="../theme/theme26.xml"/><Relationship Id="rId5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4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19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4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90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6886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81190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1" r:id="rId1"/>
    <p:sldLayoutId id="2147484432" r:id="rId2"/>
    <p:sldLayoutId id="2147484433" r:id="rId3"/>
    <p:sldLayoutId id="2147484434" r:id="rId4"/>
    <p:sldLayoutId id="2147484435" r:id="rId5"/>
    <p:sldLayoutId id="2147484436" r:id="rId6"/>
    <p:sldLayoutId id="2147484437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3937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796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614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52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  <p:sldLayoutId id="2147484535" r:id="rId4"/>
    <p:sldLayoutId id="2147484536" r:id="rId5"/>
    <p:sldLayoutId id="2147484537" r:id="rId6"/>
    <p:sldLayoutId id="2147484538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 smtClean="0"/>
              <a:t>Draft - Pre-Decisional Deliberative Document Internal VA Use Only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4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8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4/05/2018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 smtClean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 smtClean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April 5, 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0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9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4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4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3" Type="http://schemas.openxmlformats.org/officeDocument/2006/relationships/diagramLayout" Target="../diagrams/layout4.xml"/><Relationship Id="rId7" Type="http://schemas.openxmlformats.org/officeDocument/2006/relationships/image" Target="../media/image26.jpeg"/><Relationship Id="rId12" Type="http://schemas.microsoft.com/office/2007/relationships/diagramDrawing" Target="../diagrams/drawing5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132.xml"/><Relationship Id="rId6" Type="http://schemas.microsoft.com/office/2007/relationships/diagramDrawing" Target="../diagrams/drawing4.xml"/><Relationship Id="rId11" Type="http://schemas.openxmlformats.org/officeDocument/2006/relationships/diagramColors" Target="../diagrams/colors5.xml"/><Relationship Id="rId5" Type="http://schemas.openxmlformats.org/officeDocument/2006/relationships/diagramColors" Target="../diagrams/colors4.xml"/><Relationship Id="rId10" Type="http://schemas.openxmlformats.org/officeDocument/2006/relationships/diagramQuickStyle" Target="../diagrams/quickStyle5.xml"/><Relationship Id="rId4" Type="http://schemas.openxmlformats.org/officeDocument/2006/relationships/diagramQuickStyle" Target="../diagrams/quickStyle4.xml"/><Relationship Id="rId9" Type="http://schemas.openxmlformats.org/officeDocument/2006/relationships/diagramLayout" Target="../diagrams/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13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13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>
              <a:solidFill>
                <a:prstClr val="white"/>
              </a:solidFill>
            </a:endParaRPr>
          </a:p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751151" y="1998091"/>
            <a:ext cx="781976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000" b="1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truction/Permanent Loan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981200" y="3962400"/>
            <a:ext cx="5562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resented by:</a:t>
            </a:r>
          </a:p>
          <a:p>
            <a:pPr algn="ctr"/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Kent Koehler, Loan Production Officer, St. Paul</a:t>
            </a:r>
          </a:p>
        </p:txBody>
      </p:sp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0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Could Go Wrong?</a:t>
            </a:r>
          </a:p>
        </p:txBody>
      </p:sp>
      <p:pic>
        <p:nvPicPr>
          <p:cNvPr id="5345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6387" y="1029494"/>
            <a:ext cx="5991225" cy="4905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4858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2766095"/>
              </p:ext>
            </p:extLst>
          </p:nvPr>
        </p:nvGraphicFramePr>
        <p:xfrm>
          <a:off x="5119687" y="1395247"/>
          <a:ext cx="2895600" cy="2133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edback/FAQ</a:t>
            </a:r>
            <a:endParaRPr lang="en-US" dirty="0"/>
          </a:p>
        </p:txBody>
      </p:sp>
      <p:pic>
        <p:nvPicPr>
          <p:cNvPr id="537602" name="Picture 2" descr="H:\LGY\LP\Pictures\house-dream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25" y="1828800"/>
            <a:ext cx="5110162" cy="3400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89193122"/>
              </p:ext>
            </p:extLst>
          </p:nvPr>
        </p:nvGraphicFramePr>
        <p:xfrm>
          <a:off x="5119687" y="3548228"/>
          <a:ext cx="2895600" cy="21339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1546441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!</a:t>
            </a:r>
            <a:endParaRPr lang="en-US" dirty="0"/>
          </a:p>
        </p:txBody>
      </p:sp>
      <p:pic>
        <p:nvPicPr>
          <p:cNvPr id="538626" name="Picture 2" descr="H:\LGY\LP\Pictures\What's nex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43200" y="1285875"/>
            <a:ext cx="2847975" cy="428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01918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olicy Updat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838201"/>
            <a:ext cx="7467600" cy="3200399"/>
          </a:xfrm>
        </p:spPr>
        <p:txBody>
          <a:bodyPr>
            <a:normAutofit fontScale="77500" lnSpcReduction="20000"/>
          </a:bodyPr>
          <a:lstStyle/>
          <a:p>
            <a:pPr lvl="1"/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/>
              <a:t>Last updated in 2012 </a:t>
            </a: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2017 Kansas City Lender Conference additional guidance was promised</a:t>
            </a: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Just released VA Circular 26-18-xx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 smtClean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Replaces Chapter 7, Topic 2-Construction/Permanent Home Loans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Additional language and instruction added</a:t>
            </a:r>
          </a:p>
          <a:p>
            <a:pPr lvl="1">
              <a:buFont typeface="Arial" panose="020B0604020202020204" pitchFamily="34" charset="0"/>
              <a:buChar char="•"/>
            </a:pPr>
            <a:endParaRPr lang="en-US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US" dirty="0" smtClean="0"/>
              <a:t>Lender feedback welcomed</a:t>
            </a:r>
          </a:p>
          <a:p>
            <a:pPr lvl="1"/>
            <a:endParaRPr lang="en-US" dirty="0" smtClean="0"/>
          </a:p>
          <a:p>
            <a:pPr marL="457200" lvl="1" indent="0">
              <a:buNone/>
            </a:pPr>
            <a:r>
              <a:rPr lang="en-US" dirty="0" smtClean="0"/>
              <a:t> </a:t>
            </a:r>
          </a:p>
          <a:p>
            <a:pPr lvl="2"/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60481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?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75567791"/>
              </p:ext>
            </p:extLst>
          </p:nvPr>
        </p:nvGraphicFramePr>
        <p:xfrm>
          <a:off x="2971800" y="1282761"/>
          <a:ext cx="5105400" cy="42021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Picture 3" descr="C:\Users\LGYKKOEH\Desktop\2017 Lender Conference\Qualifying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09800"/>
            <a:ext cx="3360233" cy="2438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30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Lenders Asked For</a:t>
            </a:r>
            <a:endParaRPr lang="en-US" dirty="0"/>
          </a:p>
        </p:txBody>
      </p:sp>
      <p:pic>
        <p:nvPicPr>
          <p:cNvPr id="531458" name="Picture 2" descr="H:\LGY\LP\Pictures\Loan Application-23796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219200"/>
            <a:ext cx="2971800" cy="3988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87836777"/>
              </p:ext>
            </p:extLst>
          </p:nvPr>
        </p:nvGraphicFramePr>
        <p:xfrm>
          <a:off x="3048000" y="12192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11456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/>
          </a:p>
          <a:p>
            <a:r>
              <a:rPr lang="en-US" dirty="0" smtClean="0"/>
              <a:t>Eligible Veteran</a:t>
            </a:r>
          </a:p>
          <a:p>
            <a:r>
              <a:rPr lang="en-US" dirty="0" smtClean="0"/>
              <a:t>Qualified Veteran</a:t>
            </a:r>
          </a:p>
          <a:p>
            <a:r>
              <a:rPr lang="en-US" dirty="0" smtClean="0"/>
              <a:t>Structure the loan </a:t>
            </a:r>
          </a:p>
          <a:p>
            <a:r>
              <a:rPr lang="en-US" dirty="0" smtClean="0"/>
              <a:t>Registered VA builder</a:t>
            </a:r>
          </a:p>
          <a:p>
            <a:r>
              <a:rPr lang="en-US" dirty="0" smtClean="0"/>
              <a:t>Order Appraisal and provide supporting exhibits to the appraiser</a:t>
            </a:r>
          </a:p>
          <a:p>
            <a:r>
              <a:rPr lang="en-US" dirty="0" smtClean="0"/>
              <a:t>Underwrite, issue the NOV &amp; close the loan</a:t>
            </a:r>
          </a:p>
          <a:p>
            <a:r>
              <a:rPr lang="en-US" dirty="0" smtClean="0"/>
              <a:t>Pay the funding fee</a:t>
            </a:r>
          </a:p>
          <a:p>
            <a:r>
              <a:rPr lang="en-US" dirty="0" smtClean="0"/>
              <a:t>Manage and complete the project</a:t>
            </a:r>
          </a:p>
          <a:p>
            <a:r>
              <a:rPr lang="en-US" dirty="0" smtClean="0"/>
              <a:t>Obtain a final inspection</a:t>
            </a:r>
          </a:p>
          <a:p>
            <a:r>
              <a:rPr lang="en-US" dirty="0" smtClean="0"/>
              <a:t>Guaranty the loan</a:t>
            </a:r>
          </a:p>
          <a:p>
            <a:r>
              <a:rPr lang="en-US" dirty="0" smtClean="0"/>
              <a:t>Permanent loan phase begins</a:t>
            </a:r>
          </a:p>
          <a:p>
            <a:endParaRPr lang="en-US" dirty="0" smtClean="0"/>
          </a:p>
          <a:p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ender Responsibilitie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049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are Construction Loans</a:t>
            </a:r>
            <a:endParaRPr lang="en-US" dirty="0"/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3098322180"/>
              </p:ext>
            </p:extLst>
          </p:nvPr>
        </p:nvGraphicFramePr>
        <p:xfrm>
          <a:off x="914400" y="14478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9089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he loan is based on the lessor of the:</a:t>
            </a:r>
          </a:p>
          <a:p>
            <a:pPr lvl="1"/>
            <a:r>
              <a:rPr lang="en-US" dirty="0" smtClean="0"/>
              <a:t>Acquisition Costs</a:t>
            </a:r>
          </a:p>
          <a:p>
            <a:pPr lvl="3"/>
            <a:r>
              <a:rPr lang="en-US" dirty="0"/>
              <a:t>The contract to build </a:t>
            </a:r>
            <a:endParaRPr lang="en-US" sz="1200" dirty="0"/>
          </a:p>
          <a:p>
            <a:pPr lvl="3"/>
            <a:r>
              <a:rPr lang="en-US" dirty="0"/>
              <a:t>Cost of the lot if acquired within one year from VA loan closing, or</a:t>
            </a:r>
            <a:endParaRPr lang="en-US" sz="1200" dirty="0"/>
          </a:p>
          <a:p>
            <a:pPr lvl="3"/>
            <a:r>
              <a:rPr lang="en-US" dirty="0"/>
              <a:t>Value of the lot if acquired more than one year from VA closing, or </a:t>
            </a:r>
            <a:endParaRPr lang="en-US" sz="1200" dirty="0"/>
          </a:p>
          <a:p>
            <a:pPr lvl="3"/>
            <a:r>
              <a:rPr lang="en-US" dirty="0"/>
              <a:t>Value of lot if gifted to Veteran and there are no liens on the lot, or </a:t>
            </a:r>
            <a:endParaRPr lang="en-US" sz="1200" dirty="0"/>
          </a:p>
          <a:p>
            <a:pPr lvl="3"/>
            <a:r>
              <a:rPr lang="en-US" dirty="0"/>
              <a:t>Lots gifted less than one year from VA closing are limited to lot lien(s) if any </a:t>
            </a:r>
            <a:endParaRPr lang="en-US" sz="1200" dirty="0"/>
          </a:p>
          <a:p>
            <a:pPr lvl="3"/>
            <a:r>
              <a:rPr lang="en-US" dirty="0"/>
              <a:t>Interest reserve if not included in the contract to build </a:t>
            </a:r>
            <a:endParaRPr lang="en-US" sz="1200" dirty="0"/>
          </a:p>
          <a:p>
            <a:pPr lvl="3"/>
            <a:r>
              <a:rPr lang="en-US" dirty="0"/>
              <a:t>Contingency reserve, and</a:t>
            </a:r>
            <a:endParaRPr lang="en-US" sz="1200" dirty="0"/>
          </a:p>
          <a:p>
            <a:pPr lvl="3"/>
            <a:r>
              <a:rPr lang="en-US" dirty="0"/>
              <a:t>Permits if not included in the contract to </a:t>
            </a:r>
            <a:r>
              <a:rPr lang="en-US" dirty="0" smtClean="0"/>
              <a:t>build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Notice of Value</a:t>
            </a:r>
          </a:p>
          <a:p>
            <a:pPr lvl="3"/>
            <a:r>
              <a:rPr lang="en-US" dirty="0" smtClean="0"/>
              <a:t>Does not expire as longs progress is occurring </a:t>
            </a:r>
            <a:endParaRPr lang="en-US" dirty="0"/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the value?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16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 smtClean="0"/>
              <a:t>Builder registration instructions</a:t>
            </a:r>
          </a:p>
          <a:p>
            <a:endParaRPr lang="en-US" dirty="0" smtClean="0"/>
          </a:p>
          <a:p>
            <a:r>
              <a:rPr lang="en-US" dirty="0" smtClean="0"/>
              <a:t>Change order information</a:t>
            </a:r>
          </a:p>
          <a:p>
            <a:endParaRPr lang="en-US" dirty="0" smtClean="0"/>
          </a:p>
          <a:p>
            <a:r>
              <a:rPr lang="en-US" dirty="0" smtClean="0"/>
              <a:t>Additional construction fee allowed</a:t>
            </a:r>
          </a:p>
          <a:p>
            <a:endParaRPr lang="en-US" dirty="0" smtClean="0"/>
          </a:p>
          <a:p>
            <a:r>
              <a:rPr lang="en-US" dirty="0" smtClean="0"/>
              <a:t>Interest reserve</a:t>
            </a:r>
          </a:p>
          <a:p>
            <a:endParaRPr lang="en-US" dirty="0" smtClean="0"/>
          </a:p>
          <a:p>
            <a:r>
              <a:rPr lang="en-US" dirty="0" smtClean="0"/>
              <a:t>Contingency reserve</a:t>
            </a:r>
          </a:p>
          <a:p>
            <a:endParaRPr lang="en-US" dirty="0" smtClean="0"/>
          </a:p>
          <a:p>
            <a:r>
              <a:rPr lang="en-US" dirty="0" smtClean="0"/>
              <a:t>Housing reserve</a:t>
            </a:r>
          </a:p>
          <a:p>
            <a:endParaRPr lang="en-US" dirty="0" smtClean="0"/>
          </a:p>
          <a:p>
            <a:r>
              <a:rPr lang="en-US" dirty="0" smtClean="0"/>
              <a:t>Project management</a:t>
            </a:r>
          </a:p>
          <a:p>
            <a:endParaRPr lang="en-US" dirty="0"/>
          </a:p>
          <a:p>
            <a:r>
              <a:rPr lang="en-US" dirty="0" smtClean="0"/>
              <a:t>Inspections</a:t>
            </a:r>
          </a:p>
          <a:p>
            <a:pPr algn="ctr"/>
            <a:endParaRPr lang="en-US" dirty="0" smtClean="0"/>
          </a:p>
          <a:p>
            <a:pPr algn="ctr"/>
            <a:endParaRPr lang="en-US" dirty="0"/>
          </a:p>
          <a:p>
            <a:pPr algn="ctr"/>
            <a:endParaRPr lang="en-US" dirty="0" smtClean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ed Features	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7592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Could Go Wrong?</a:t>
            </a:r>
          </a:p>
        </p:txBody>
      </p:sp>
      <p:pic>
        <p:nvPicPr>
          <p:cNvPr id="5335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7400" y="1305480"/>
            <a:ext cx="4301770" cy="3723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66355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1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3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Status xmlns="58713316-8334-4bf4-a6fe-1fea435260dd">Draft</Document_x0020_Status>
    <Document_x0020_Category xmlns="58713316-8334-4bf4-a6fe-1fea435260dd">Senior Leader Meeting</Document_x0020_Category>
    <Document_x0020_Presentation_x0020_Date xmlns="58713316-8334-4bf4-a6fe-1fea435260dd">2017-06-30T04:00:00+00:00</Document_x0020_Presentation_x0020_Date>
    <Presentation_x0020_Material_x0020_Type xmlns="58713316-8334-4bf4-a6fe-1fea435260dd">Presentation Material</Presentation_x0020_Material_x0020_Type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F1A7C33E7FFA42BCE730A96C4C97C7" ma:contentTypeVersion="5" ma:contentTypeDescription="Create a new document." ma:contentTypeScope="" ma:versionID="3d639e43d2cbee7f898cbb5aa816316d">
  <xsd:schema xmlns:xsd="http://www.w3.org/2001/XMLSchema" xmlns:xs="http://www.w3.org/2001/XMLSchema" xmlns:p="http://schemas.microsoft.com/office/2006/metadata/properties" xmlns:ns2="58713316-8334-4bf4-a6fe-1fea435260dd" targetNamespace="http://schemas.microsoft.com/office/2006/metadata/properties" ma:root="true" ma:fieldsID="cd0500b17323a0c299437be0f9df1502" ns2:_="">
    <xsd:import namespace="58713316-8334-4bf4-a6fe-1fea435260dd"/>
    <xsd:element name="properties">
      <xsd:complexType>
        <xsd:sequence>
          <xsd:element name="documentManagement">
            <xsd:complexType>
              <xsd:all>
                <xsd:element ref="ns2:Document_x0020_Status"/>
                <xsd:element ref="ns2:Document_x0020_Presentation_x0020_Date"/>
                <xsd:element ref="ns2:Document_x0020_Category"/>
                <xsd:element ref="ns2:Presentation_x0020_Material_x0020_Typ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713316-8334-4bf4-a6fe-1fea435260dd" elementFormDefault="qualified">
    <xsd:import namespace="http://schemas.microsoft.com/office/2006/documentManagement/types"/>
    <xsd:import namespace="http://schemas.microsoft.com/office/infopath/2007/PartnerControls"/>
    <xsd:element name="Document_x0020_Status" ma:index="8" ma:displayName="Document Status" ma:description="Document Status" ma:format="Dropdown" ma:internalName="Document_x0020_Status">
      <xsd:simpleType>
        <xsd:restriction base="dms:Choice">
          <xsd:enumeration value="Draft"/>
          <xsd:enumeration value="Finalized"/>
        </xsd:restriction>
      </xsd:simpleType>
    </xsd:element>
    <xsd:element name="Document_x0020_Presentation_x0020_Date" ma:index="9" ma:displayName="Document Presentation Date" ma:description="This is the date that the document was presented" ma:format="DateOnly" ma:internalName="Document_x0020_Presentation_x0020_Date">
      <xsd:simpleType>
        <xsd:restriction base="dms:DateTime"/>
      </xsd:simpleType>
    </xsd:element>
    <xsd:element name="Document_x0020_Category" ma:index="10" ma:displayName="Meeting Category" ma:description="Document Category" ma:format="Dropdown" ma:internalName="Document_x0020_Category">
      <xsd:simpleType>
        <xsd:restriction base="dms:Choice">
          <xsd:enumeration value="Senior Leader Meeting"/>
          <xsd:enumeration value="Initiative Coordination Meeting"/>
          <xsd:enumeration value="BIM/MIM"/>
          <xsd:enumeration value="Snapshot"/>
          <xsd:enumeration value="Spotlight"/>
          <xsd:enumeration value="Discussion Forum"/>
          <xsd:enumeration value="Dance Card Deck"/>
        </xsd:restriction>
      </xsd:simpleType>
    </xsd:element>
    <xsd:element name="Presentation_x0020_Material_x0020_Type" ma:index="12" nillable="true" ma:displayName="Presentation Material Type" ma:description="Is this the presentation material, supplemental documentation, or other?" ma:format="Dropdown" ma:internalName="Presentation_x0020_Material_x0020_Type">
      <xsd:simpleType>
        <xsd:restriction base="dms:Choice">
          <xsd:enumeration value="Presentation Material"/>
          <xsd:enumeration value="Supplemental Documentation"/>
          <xsd:enumeration value="Other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purl.org/dc/dcmitype/"/>
    <ds:schemaRef ds:uri="http://schemas.microsoft.com/office/2006/documentManagement/types"/>
    <ds:schemaRef ds:uri="http://purl.org/dc/terms/"/>
    <ds:schemaRef ds:uri="http://www.w3.org/XML/1998/namespace"/>
    <ds:schemaRef ds:uri="58713316-8334-4bf4-a6fe-1fea435260dd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844922B-DF45-4AD9-9F72-8CB59C83D83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713316-8334-4bf4-a6fe-1fea435260d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736</TotalTime>
  <Words>358</Words>
  <Application>Microsoft Office PowerPoint</Application>
  <PresentationFormat>On-screen Show (4:3)</PresentationFormat>
  <Paragraphs>105</Paragraphs>
  <Slides>12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2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39" baseType="lpstr"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1_Office Theme</vt:lpstr>
      <vt:lpstr>2_Office Theme</vt:lpstr>
      <vt:lpstr>7_Office Theme</vt:lpstr>
      <vt:lpstr>10_Office Theme</vt:lpstr>
      <vt:lpstr>13_Office Theme</vt:lpstr>
      <vt:lpstr>12_Office Theme</vt:lpstr>
      <vt:lpstr>36_Office Theme</vt:lpstr>
      <vt:lpstr>39_Office Theme</vt:lpstr>
      <vt:lpstr>14_Office Theme</vt:lpstr>
      <vt:lpstr>OM Standard Slides</vt:lpstr>
      <vt:lpstr>think-cell Slide</vt:lpstr>
      <vt:lpstr>PowerPoint Presentation</vt:lpstr>
      <vt:lpstr>Policy Updates</vt:lpstr>
      <vt:lpstr>Why?</vt:lpstr>
      <vt:lpstr>What Lenders Asked For</vt:lpstr>
      <vt:lpstr>Lender Responsibilities </vt:lpstr>
      <vt:lpstr>What are Construction Loans</vt:lpstr>
      <vt:lpstr>What is the value? </vt:lpstr>
      <vt:lpstr>Added Features </vt:lpstr>
      <vt:lpstr>What Could Go Wrong?</vt:lpstr>
      <vt:lpstr>What Could Go Wrong?</vt:lpstr>
      <vt:lpstr>Feedback/FAQ</vt:lpstr>
      <vt:lpstr>Thank You!</vt:lpstr>
    </vt:vector>
  </TitlesOfParts>
  <Company>Veteran Affair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partment of Veterans Affairs</dc:creator>
  <cp:lastModifiedBy>Department of Veterans Affairs</cp:lastModifiedBy>
  <cp:revision>890</cp:revision>
  <cp:lastPrinted>2018-04-02T17:52:18Z</cp:lastPrinted>
  <dcterms:created xsi:type="dcterms:W3CDTF">2016-05-04T17:57:56Z</dcterms:created>
  <dcterms:modified xsi:type="dcterms:W3CDTF">2018-04-05T19:08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F1A7C33E7FFA42BCE730A96C4C97C7</vt:lpwstr>
  </property>
</Properties>
</file>